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openxmlformats.org/officeDocument/2006/relationships/custom-properties" Target="docProps/custom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66" r:id="rId2"/>
    <p:sldId id="257" r:id="rId3"/>
    <p:sldId id="267" r:id="rId4"/>
    <p:sldId id="261" r:id="rId5"/>
    <p:sldId id="263" r:id="rId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CBAB5E0-3FFD-4B2D-BF45-7584AA5301D8}" v="2" dt="2024-07-15T09:20:55.97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82" d="100"/>
          <a:sy n="82" d="100"/>
        </p:scale>
        <p:origin x="37" y="285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customXml" Target="../customXml/item2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CMAHON, Shauna (THE NEWCASTLE UPON TYNE HOSPITALS NHS FOUNDATION TRUST)" userId="3c707dec-83cb-40f4-a1e5-d04864827edd" providerId="ADAL" clId="{9CBAB5E0-3FFD-4B2D-BF45-7584AA5301D8}"/>
    <pc:docChg chg="undo custSel addSld delSld modSld sldOrd">
      <pc:chgData name="MCMAHON, Shauna (THE NEWCASTLE UPON TYNE HOSPITALS NHS FOUNDATION TRUST)" userId="3c707dec-83cb-40f4-a1e5-d04864827edd" providerId="ADAL" clId="{9CBAB5E0-3FFD-4B2D-BF45-7584AA5301D8}" dt="2024-07-15T09:34:14.799" v="539" actId="27636"/>
      <pc:docMkLst>
        <pc:docMk/>
      </pc:docMkLst>
      <pc:sldChg chg="del">
        <pc:chgData name="MCMAHON, Shauna (THE NEWCASTLE UPON TYNE HOSPITALS NHS FOUNDATION TRUST)" userId="3c707dec-83cb-40f4-a1e5-d04864827edd" providerId="ADAL" clId="{9CBAB5E0-3FFD-4B2D-BF45-7584AA5301D8}" dt="2024-07-15T09:15:18.843" v="80" actId="47"/>
        <pc:sldMkLst>
          <pc:docMk/>
          <pc:sldMk cId="799298715" sldId="256"/>
        </pc:sldMkLst>
      </pc:sldChg>
      <pc:sldChg chg="del">
        <pc:chgData name="MCMAHON, Shauna (THE NEWCASTLE UPON TYNE HOSPITALS NHS FOUNDATION TRUST)" userId="3c707dec-83cb-40f4-a1e5-d04864827edd" providerId="ADAL" clId="{9CBAB5E0-3FFD-4B2D-BF45-7584AA5301D8}" dt="2024-07-15T09:15:20.869" v="81" actId="47"/>
        <pc:sldMkLst>
          <pc:docMk/>
          <pc:sldMk cId="772761617" sldId="262"/>
        </pc:sldMkLst>
      </pc:sldChg>
      <pc:sldChg chg="addSp modSp mod">
        <pc:chgData name="MCMAHON, Shauna (THE NEWCASTLE UPON TYNE HOSPITALS NHS FOUNDATION TRUST)" userId="3c707dec-83cb-40f4-a1e5-d04864827edd" providerId="ADAL" clId="{9CBAB5E0-3FFD-4B2D-BF45-7584AA5301D8}" dt="2024-07-15T09:20:02.433" v="181" actId="14100"/>
        <pc:sldMkLst>
          <pc:docMk/>
          <pc:sldMk cId="133325150" sldId="263"/>
        </pc:sldMkLst>
        <pc:spChg chg="add mod">
          <ac:chgData name="MCMAHON, Shauna (THE NEWCASTLE UPON TYNE HOSPITALS NHS FOUNDATION TRUST)" userId="3c707dec-83cb-40f4-a1e5-d04864827edd" providerId="ADAL" clId="{9CBAB5E0-3FFD-4B2D-BF45-7584AA5301D8}" dt="2024-07-15T09:19:51.924" v="179" actId="14100"/>
          <ac:spMkLst>
            <pc:docMk/>
            <pc:sldMk cId="133325150" sldId="263"/>
            <ac:spMk id="3" creationId="{5EC5731B-91F5-94FF-E0BB-445626C3D846}"/>
          </ac:spMkLst>
        </pc:spChg>
        <pc:spChg chg="mod">
          <ac:chgData name="MCMAHON, Shauna (THE NEWCASTLE UPON TYNE HOSPITALS NHS FOUNDATION TRUST)" userId="3c707dec-83cb-40f4-a1e5-d04864827edd" providerId="ADAL" clId="{9CBAB5E0-3FFD-4B2D-BF45-7584AA5301D8}" dt="2024-07-15T09:16:27.774" v="85" actId="1076"/>
          <ac:spMkLst>
            <pc:docMk/>
            <pc:sldMk cId="133325150" sldId="263"/>
            <ac:spMk id="5" creationId="{EC0CB6B9-56AE-D112-7CF7-62250169C1C3}"/>
          </ac:spMkLst>
        </pc:spChg>
        <pc:spChg chg="mod">
          <ac:chgData name="MCMAHON, Shauna (THE NEWCASTLE UPON TYNE HOSPITALS NHS FOUNDATION TRUST)" userId="3c707dec-83cb-40f4-a1e5-d04864827edd" providerId="ADAL" clId="{9CBAB5E0-3FFD-4B2D-BF45-7584AA5301D8}" dt="2024-07-15T09:17:12.983" v="90" actId="1076"/>
          <ac:spMkLst>
            <pc:docMk/>
            <pc:sldMk cId="133325150" sldId="263"/>
            <ac:spMk id="15" creationId="{9A8EB204-3A12-FD04-4FE3-5FA0F52140B3}"/>
          </ac:spMkLst>
        </pc:spChg>
        <pc:spChg chg="mod">
          <ac:chgData name="MCMAHON, Shauna (THE NEWCASTLE UPON TYNE HOSPITALS NHS FOUNDATION TRUST)" userId="3c707dec-83cb-40f4-a1e5-d04864827edd" providerId="ADAL" clId="{9CBAB5E0-3FFD-4B2D-BF45-7584AA5301D8}" dt="2024-07-15T09:19:34.708" v="175" actId="255"/>
          <ac:spMkLst>
            <pc:docMk/>
            <pc:sldMk cId="133325150" sldId="263"/>
            <ac:spMk id="34" creationId="{D32EB76D-803F-5766-A21F-F8906C6F361D}"/>
          </ac:spMkLst>
        </pc:spChg>
        <pc:spChg chg="mod">
          <ac:chgData name="MCMAHON, Shauna (THE NEWCASTLE UPON TYNE HOSPITALS NHS FOUNDATION TRUST)" userId="3c707dec-83cb-40f4-a1e5-d04864827edd" providerId="ADAL" clId="{9CBAB5E0-3FFD-4B2D-BF45-7584AA5301D8}" dt="2024-07-15T09:20:02.433" v="181" actId="14100"/>
          <ac:spMkLst>
            <pc:docMk/>
            <pc:sldMk cId="133325150" sldId="263"/>
            <ac:spMk id="35" creationId="{A133C052-A128-B85B-68B4-970384BB1A2A}"/>
          </ac:spMkLst>
        </pc:spChg>
        <pc:spChg chg="mod">
          <ac:chgData name="MCMAHON, Shauna (THE NEWCASTLE UPON TYNE HOSPITALS NHS FOUNDATION TRUST)" userId="3c707dec-83cb-40f4-a1e5-d04864827edd" providerId="ADAL" clId="{9CBAB5E0-3FFD-4B2D-BF45-7584AA5301D8}" dt="2024-07-15T09:18:41.191" v="167" actId="20577"/>
          <ac:spMkLst>
            <pc:docMk/>
            <pc:sldMk cId="133325150" sldId="263"/>
            <ac:spMk id="36" creationId="{4E929A0C-B664-0BF0-6138-A6486441FBD2}"/>
          </ac:spMkLst>
        </pc:spChg>
        <pc:picChg chg="mod">
          <ac:chgData name="MCMAHON, Shauna (THE NEWCASTLE UPON TYNE HOSPITALS NHS FOUNDATION TRUST)" userId="3c707dec-83cb-40f4-a1e5-d04864827edd" providerId="ADAL" clId="{9CBAB5E0-3FFD-4B2D-BF45-7584AA5301D8}" dt="2024-07-15T09:19:26.037" v="173" actId="14100"/>
          <ac:picMkLst>
            <pc:docMk/>
            <pc:sldMk cId="133325150" sldId="263"/>
            <ac:picMk id="9" creationId="{0ABEF2FD-83E5-B07A-DB84-E8256D2C7CDD}"/>
          </ac:picMkLst>
        </pc:picChg>
        <pc:picChg chg="mod">
          <ac:chgData name="MCMAHON, Shauna (THE NEWCASTLE UPON TYNE HOSPITALS NHS FOUNDATION TRUST)" userId="3c707dec-83cb-40f4-a1e5-d04864827edd" providerId="ADAL" clId="{9CBAB5E0-3FFD-4B2D-BF45-7584AA5301D8}" dt="2024-07-15T09:17:17.034" v="91" actId="1076"/>
          <ac:picMkLst>
            <pc:docMk/>
            <pc:sldMk cId="133325150" sldId="263"/>
            <ac:picMk id="13" creationId="{5AFD39D6-3711-BFC9-9C4B-907AC06D14C0}"/>
          </ac:picMkLst>
        </pc:picChg>
      </pc:sldChg>
      <pc:sldChg chg="del">
        <pc:chgData name="MCMAHON, Shauna (THE NEWCASTLE UPON TYNE HOSPITALS NHS FOUNDATION TRUST)" userId="3c707dec-83cb-40f4-a1e5-d04864827edd" providerId="ADAL" clId="{9CBAB5E0-3FFD-4B2D-BF45-7584AA5301D8}" dt="2024-07-15T09:15:25.193" v="82" actId="47"/>
        <pc:sldMkLst>
          <pc:docMk/>
          <pc:sldMk cId="2023540964" sldId="265"/>
        </pc:sldMkLst>
      </pc:sldChg>
      <pc:sldChg chg="modSp mod">
        <pc:chgData name="MCMAHON, Shauna (THE NEWCASTLE UPON TYNE HOSPITALS NHS FOUNDATION TRUST)" userId="3c707dec-83cb-40f4-a1e5-d04864827edd" providerId="ADAL" clId="{9CBAB5E0-3FFD-4B2D-BF45-7584AA5301D8}" dt="2024-07-15T09:21:28.373" v="183" actId="1076"/>
        <pc:sldMkLst>
          <pc:docMk/>
          <pc:sldMk cId="1889452758" sldId="266"/>
        </pc:sldMkLst>
        <pc:spChg chg="mod">
          <ac:chgData name="MCMAHON, Shauna (THE NEWCASTLE UPON TYNE HOSPITALS NHS FOUNDATION TRUST)" userId="3c707dec-83cb-40f4-a1e5-d04864827edd" providerId="ADAL" clId="{9CBAB5E0-3FFD-4B2D-BF45-7584AA5301D8}" dt="2024-07-15T09:21:28.373" v="183" actId="1076"/>
          <ac:spMkLst>
            <pc:docMk/>
            <pc:sldMk cId="1889452758" sldId="266"/>
            <ac:spMk id="2" creationId="{59005999-2B7E-3491-3E19-333BD07221DA}"/>
          </ac:spMkLst>
        </pc:spChg>
      </pc:sldChg>
      <pc:sldChg chg="modSp del mod">
        <pc:chgData name="MCMAHON, Shauna (THE NEWCASTLE UPON TYNE HOSPITALS NHS FOUNDATION TRUST)" userId="3c707dec-83cb-40f4-a1e5-d04864827edd" providerId="ADAL" clId="{9CBAB5E0-3FFD-4B2D-BF45-7584AA5301D8}" dt="2024-07-15T09:15:03.902" v="79" actId="47"/>
        <pc:sldMkLst>
          <pc:docMk/>
          <pc:sldMk cId="2695714367" sldId="267"/>
        </pc:sldMkLst>
        <pc:spChg chg="mod">
          <ac:chgData name="MCMAHON, Shauna (THE NEWCASTLE UPON TYNE HOSPITALS NHS FOUNDATION TRUST)" userId="3c707dec-83cb-40f4-a1e5-d04864827edd" providerId="ADAL" clId="{9CBAB5E0-3FFD-4B2D-BF45-7584AA5301D8}" dt="2024-07-15T09:14:50.543" v="78" actId="27636"/>
          <ac:spMkLst>
            <pc:docMk/>
            <pc:sldMk cId="2695714367" sldId="267"/>
            <ac:spMk id="7" creationId="{D7B58D4E-2512-1588-40C6-7EE3C2F6F56F}"/>
          </ac:spMkLst>
        </pc:spChg>
      </pc:sldChg>
      <pc:sldChg chg="addSp delSp modSp add mod ord">
        <pc:chgData name="MCMAHON, Shauna (THE NEWCASTLE UPON TYNE HOSPITALS NHS FOUNDATION TRUST)" userId="3c707dec-83cb-40f4-a1e5-d04864827edd" providerId="ADAL" clId="{9CBAB5E0-3FFD-4B2D-BF45-7584AA5301D8}" dt="2024-07-15T09:34:14.799" v="539" actId="27636"/>
        <pc:sldMkLst>
          <pc:docMk/>
          <pc:sldMk cId="4051648096" sldId="267"/>
        </pc:sldMkLst>
        <pc:spChg chg="del mod">
          <ac:chgData name="MCMAHON, Shauna (THE NEWCASTLE UPON TYNE HOSPITALS NHS FOUNDATION TRUST)" userId="3c707dec-83cb-40f4-a1e5-d04864827edd" providerId="ADAL" clId="{9CBAB5E0-3FFD-4B2D-BF45-7584AA5301D8}" dt="2024-07-15T09:30:54.619" v="369" actId="478"/>
          <ac:spMkLst>
            <pc:docMk/>
            <pc:sldMk cId="4051648096" sldId="267"/>
            <ac:spMk id="2" creationId="{59005999-2B7E-3491-3E19-333BD07221DA}"/>
          </ac:spMkLst>
        </pc:spChg>
        <pc:spChg chg="del">
          <ac:chgData name="MCMAHON, Shauna (THE NEWCASTLE UPON TYNE HOSPITALS NHS FOUNDATION TRUST)" userId="3c707dec-83cb-40f4-a1e5-d04864827edd" providerId="ADAL" clId="{9CBAB5E0-3FFD-4B2D-BF45-7584AA5301D8}" dt="2024-07-15T09:25:00.427" v="188" actId="26606"/>
          <ac:spMkLst>
            <pc:docMk/>
            <pc:sldMk cId="4051648096" sldId="267"/>
            <ac:spMk id="10" creationId="{42A4FC2C-047E-45A5-965D-8E1E3BF09BC6}"/>
          </ac:spMkLst>
        </pc:spChg>
        <pc:spChg chg="add del mod">
          <ac:chgData name="MCMAHON, Shauna (THE NEWCASTLE UPON TYNE HOSPITALS NHS FOUNDATION TRUST)" userId="3c707dec-83cb-40f4-a1e5-d04864827edd" providerId="ADAL" clId="{9CBAB5E0-3FFD-4B2D-BF45-7584AA5301D8}" dt="2024-07-15T09:34:14.799" v="539" actId="27636"/>
          <ac:spMkLst>
            <pc:docMk/>
            <pc:sldMk cId="4051648096" sldId="267"/>
            <ac:spMk id="14" creationId="{9DDCAD0F-B44F-6C2E-9DF8-B9437B4C6EB7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30.528" v="209" actId="26606"/>
          <ac:spMkLst>
            <pc:docMk/>
            <pc:sldMk cId="4051648096" sldId="267"/>
            <ac:spMk id="17" creationId="{327D73B4-9F5C-4A64-A179-51B9500CB8B5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30.528" v="209" actId="26606"/>
          <ac:spMkLst>
            <pc:docMk/>
            <pc:sldMk cId="4051648096" sldId="267"/>
            <ac:spMk id="19" creationId="{C1F06963-6374-4B48-844F-071A9BAAAE02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30.528" v="209" actId="26606"/>
          <ac:spMkLst>
            <pc:docMk/>
            <pc:sldMk cId="4051648096" sldId="267"/>
            <ac:spMk id="21" creationId="{6CB927A4-E432-4310-9CD5-E89FF5063179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30.528" v="209" actId="26606"/>
          <ac:spMkLst>
            <pc:docMk/>
            <pc:sldMk cId="4051648096" sldId="267"/>
            <ac:spMk id="23" creationId="{1453BF6C-B012-48B7-B4E8-6D7AC7C27D02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30.528" v="209" actId="26606"/>
          <ac:spMkLst>
            <pc:docMk/>
            <pc:sldMk cId="4051648096" sldId="267"/>
            <ac:spMk id="25" creationId="{E3020543-B24B-4EC4-8FFC-8DD88EEA91A8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30.528" v="209" actId="26606"/>
          <ac:spMkLst>
            <pc:docMk/>
            <pc:sldMk cId="4051648096" sldId="267"/>
            <ac:spMk id="32" creationId="{04812C46-200A-4DEB-A05E-3ED6C68C2387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30.528" v="209" actId="26606"/>
          <ac:spMkLst>
            <pc:docMk/>
            <pc:sldMk cId="4051648096" sldId="267"/>
            <ac:spMk id="34" creationId="{D1EA859B-E555-4109-94F3-6700E046E008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27.774" v="206" actId="26606"/>
          <ac:spMkLst>
            <pc:docMk/>
            <pc:sldMk cId="4051648096" sldId="267"/>
            <ac:spMk id="39" creationId="{04812C46-200A-4DEB-A05E-3ED6C68C2387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27.774" v="206" actId="26606"/>
          <ac:spMkLst>
            <pc:docMk/>
            <pc:sldMk cId="4051648096" sldId="267"/>
            <ac:spMk id="41" creationId="{D1EA859B-E555-4109-94F3-6700E046E008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6:59.211" v="202" actId="26606"/>
          <ac:spMkLst>
            <pc:docMk/>
            <pc:sldMk cId="4051648096" sldId="267"/>
            <ac:spMk id="46" creationId="{327D73B4-9F5C-4A64-A179-51B9500CB8B5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6:59.211" v="202" actId="26606"/>
          <ac:spMkLst>
            <pc:docMk/>
            <pc:sldMk cId="4051648096" sldId="267"/>
            <ac:spMk id="48" creationId="{C1F06963-6374-4B48-844F-071A9BAAAE02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6:59.211" v="202" actId="26606"/>
          <ac:spMkLst>
            <pc:docMk/>
            <pc:sldMk cId="4051648096" sldId="267"/>
            <ac:spMk id="50" creationId="{6CB927A4-E432-4310-9CD5-E89FF5063179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6:59.211" v="202" actId="26606"/>
          <ac:spMkLst>
            <pc:docMk/>
            <pc:sldMk cId="4051648096" sldId="267"/>
            <ac:spMk id="52" creationId="{1453BF6C-B012-48B7-B4E8-6D7AC7C27D02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6:59.211" v="202" actId="26606"/>
          <ac:spMkLst>
            <pc:docMk/>
            <pc:sldMk cId="4051648096" sldId="267"/>
            <ac:spMk id="54" creationId="{E3020543-B24B-4EC4-8FFC-8DD88EEA91A8}"/>
          </ac:spMkLst>
        </pc:spChg>
        <pc:spChg chg="add del">
          <ac:chgData name="MCMAHON, Shauna (THE NEWCASTLE UPON TYNE HOSPITALS NHS FOUNDATION TRUST)" userId="3c707dec-83cb-40f4-a1e5-d04864827edd" providerId="ADAL" clId="{9CBAB5E0-3FFD-4B2D-BF45-7584AA5301D8}" dt="2024-07-15T09:27:21.069" v="204" actId="26606"/>
          <ac:spMkLst>
            <pc:docMk/>
            <pc:sldMk cId="4051648096" sldId="267"/>
            <ac:spMk id="58" creationId="{42A4FC2C-047E-45A5-965D-8E1E3BF09BC6}"/>
          </ac:spMkLst>
        </pc:spChg>
        <pc:picChg chg="mod">
          <ac:chgData name="MCMAHON, Shauna (THE NEWCASTLE UPON TYNE HOSPITALS NHS FOUNDATION TRUST)" userId="3c707dec-83cb-40f4-a1e5-d04864827edd" providerId="ADAL" clId="{9CBAB5E0-3FFD-4B2D-BF45-7584AA5301D8}" dt="2024-07-15T09:27:30.528" v="209" actId="26606"/>
          <ac:picMkLst>
            <pc:docMk/>
            <pc:sldMk cId="4051648096" sldId="267"/>
            <ac:picMk id="5" creationId="{93BDC887-7B83-A41B-044D-484FBDB67A11}"/>
          </ac:picMkLst>
        </pc:picChg>
        <pc:cxnChg chg="add del">
          <ac:chgData name="MCMAHON, Shauna (THE NEWCASTLE UPON TYNE HOSPITALS NHS FOUNDATION TRUST)" userId="3c707dec-83cb-40f4-a1e5-d04864827edd" providerId="ADAL" clId="{9CBAB5E0-3FFD-4B2D-BF45-7584AA5301D8}" dt="2024-07-15T09:27:30.528" v="209" actId="26606"/>
          <ac:cxnSpMkLst>
            <pc:docMk/>
            <pc:sldMk cId="4051648096" sldId="267"/>
            <ac:cxnSpMk id="27" creationId="{C49DA8F6-BCC1-4447-B54C-57856834B94B}"/>
          </ac:cxnSpMkLst>
        </pc:cxnChg>
        <pc:cxnChg chg="add del">
          <ac:chgData name="MCMAHON, Shauna (THE NEWCASTLE UPON TYNE HOSPITALS NHS FOUNDATION TRUST)" userId="3c707dec-83cb-40f4-a1e5-d04864827edd" providerId="ADAL" clId="{9CBAB5E0-3FFD-4B2D-BF45-7584AA5301D8}" dt="2024-07-15T09:26:59.211" v="202" actId="26606"/>
          <ac:cxnSpMkLst>
            <pc:docMk/>
            <pc:sldMk cId="4051648096" sldId="267"/>
            <ac:cxnSpMk id="56" creationId="{C49DA8F6-BCC1-4447-B54C-57856834B94B}"/>
          </ac:cxnSpMkLst>
        </pc:cxn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61C692-2286-420D-9E70-2959951B8582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2B3139-C9E9-4A78-87BA-39E8C18847B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7950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C2B3139-C9E9-4A78-87BA-39E8C18847B7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9327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E4E99-764D-086A-AC10-5FF91614AE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41BE862-8841-90AA-60EC-A153E035EA1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A385F0-2D24-4574-9D9E-BEE14523EA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0ACC5C-FE3E-6440-E241-C37442E38C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F1E3EAA-FB56-9B17-4A1A-2F74BAEE3A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44575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F43340-98D0-0941-4FB5-ECBD6B2A7F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9D7A039-D432-1FCC-1AF3-3391FE2444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B5F1DD-EF90-DB78-0785-58CA100FA3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7037D2A-EE66-8306-69AF-6F83ACE46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F4076F-0757-7FFB-50C3-9352C3963A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91253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52B444D-75B9-0AB7-CEC0-732A29DF68A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036CB32-F31A-590D-3F38-9128BBC54A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ADC55A-A3FB-79EB-AF47-AC4F004B32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1A02E0-2812-E9AC-C180-8EFF6C7EFF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3A1BDB-C366-5856-D4D1-E761C2E41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56912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6AD02B-272B-18CE-E9F7-C4F219A9B3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FE91941-D792-3B2F-711B-31249CAB1C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8396BA-648F-F30E-C308-8CB1ABA0F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0D46D6-E97E-85C7-FF63-1A1B0F5DD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C95BE9-E68E-F354-304D-E0F52E8111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63209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864DF4-DC11-3EFC-C2CA-4591C89E98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8B3DA6E-D0C2-082B-AE72-A91A718660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7F4E23-87EE-EAB9-B09A-32B028C5A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5208C-AF77-930D-6ED5-882B6CC82D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84C2CE-3788-3DFF-465F-191361C79E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83587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175C9C-F541-EE7E-C6B0-F4303A8F04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33701D-7DB8-B4A7-E76F-1CD161BE774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9D159AB-8690-47E2-8703-DBDACAD166A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C94EC-270E-074A-278B-5BE5E3F0D8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4D81C-0A6F-145B-519B-0EFA5A8333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CA293D-17C5-FCD5-8708-53552109C9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90234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2E9304-3FFC-37BB-0701-5DC8F0B113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B59396B-D3FF-A6D5-432E-586A6658A6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7526B41-60F1-665A-0C5F-E4678BFCDA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90C2DC-9A01-09C4-1A3D-49CBE98097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F562874-4514-D20C-1A9F-B6309C0BE96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FBA3AC1-9BE3-14B2-4605-F6E7CEAFE4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1838C9-3143-09F7-2124-60831A475F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353482D-7B92-70EA-B09F-C4876711AC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64881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F6DBA2-805C-4F06-DA78-705AC41120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522035-8A67-E78F-245B-A9B2D5630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7DA23A-71AD-1D6A-F3D9-2F78E3E12F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C1C02CB-AF09-7C41-B108-F5494BDE9B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27389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6994161-C4F3-121D-6A24-4A45645A8E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69D3022-286C-3DCD-6817-B09DF97CC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00023B-382A-C869-978A-56062CA9D0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50354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12EF09-AE1A-6626-40D9-BB04192B77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06D5DC2-DD58-F24B-4A55-87454F47CB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7238F1-0396-4937-115D-DCD70AC98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7D3D00-E34F-D3BD-92D9-1ECC1AAAED1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7083B88-DDAD-85B7-EEF8-695E589D8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09A3AE8-CCC4-6D73-A7A5-C13AFE5E76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2219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621B5E-1C5F-D5DC-1769-525FD56C73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758387E-8EB9-D888-3777-25D9403DDC0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29473E4-0EF0-CB7C-49A6-AA33EED796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78AAA80-6013-0B9D-D888-3FDAAC640D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014FAE-9AF7-1D82-FA82-A1DEFEB912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5311D3-7FFC-572F-EA8C-0206D4736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17995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CA44448-F4F9-34CE-5B41-CDFC55D8F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309232-0F86-EDAA-41F7-48640768A1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649C6C-98E3-0336-8E8A-CE0A0C352DE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DFEEDC9-6AA6-4425-BD39-4919AC3C016F}" type="datetimeFigureOut">
              <a:rPr lang="en-GB" smtClean="0"/>
              <a:t>15/07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1DD1DA-9993-D751-9276-75E775282BC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44C693-6C35-09BB-A1E3-732E60B3B8C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FDDE9D6-C8D3-4F61-8DE2-27767072E0B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5088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jpg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9.png"/><Relationship Id="rId7" Type="http://schemas.openxmlformats.org/officeDocument/2006/relationships/image" Target="../media/image11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9.xml"/><Relationship Id="rId6" Type="http://schemas.openxmlformats.org/officeDocument/2006/relationships/hyperlink" Target="https://www.pexels.com/photo/books-cover-hardcover-literature-326624/" TargetMode="External"/><Relationship Id="rId5" Type="http://schemas.openxmlformats.org/officeDocument/2006/relationships/image" Target="../media/image10.jpeg"/><Relationship Id="rId4" Type="http://schemas.openxmlformats.org/officeDocument/2006/relationships/hyperlink" Target="https://pixabay.com/fr/blanc-tshirt-avant-v%C3%AAtements-1976317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5" name="Content Placeholder 4" descr="A building with glass walls&#10;&#10;Description automatically generated">
            <a:extLst>
              <a:ext uri="{FF2B5EF4-FFF2-40B4-BE49-F238E27FC236}">
                <a16:creationId xmlns:a16="http://schemas.microsoft.com/office/drawing/2014/main" id="{93BDC887-7B83-A41B-044D-484FBDB67A1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9005999-2B7E-3491-3E19-333BD07221DA}"/>
              </a:ext>
            </a:extLst>
          </p:cNvPr>
          <p:cNvSpPr txBox="1"/>
          <p:nvPr/>
        </p:nvSpPr>
        <p:spPr>
          <a:xfrm>
            <a:off x="6710765" y="1128584"/>
            <a:ext cx="4670715" cy="36009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i="1" dirty="0">
                <a:solidFill>
                  <a:srgbClr val="0070C0"/>
                </a:solidFill>
              </a:rPr>
              <a:t>LEADING SELF &amp; OTHERS THROUGH CHALLENGING TIMES</a:t>
            </a:r>
          </a:p>
          <a:p>
            <a:endParaRPr lang="en-GB" sz="2400" b="1" i="1" dirty="0">
              <a:solidFill>
                <a:srgbClr val="0070C0"/>
              </a:solidFill>
            </a:endParaRPr>
          </a:p>
          <a:p>
            <a:r>
              <a:rPr lang="en-GB" sz="1800" b="1" dirty="0">
                <a:solidFill>
                  <a:srgbClr val="1D1DE7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Shauna McMahon, MA (Leadership), CHE, FBCS, </a:t>
            </a:r>
            <a:r>
              <a:rPr lang="en-GB" sz="1800" b="1" dirty="0" err="1">
                <a:solidFill>
                  <a:srgbClr val="1D1DE7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FEDIP</a:t>
            </a:r>
            <a:r>
              <a:rPr lang="en-GB" sz="1800" dirty="0" err="1">
                <a:solidFill>
                  <a:srgbClr val="1D1DE7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LdgPra</a:t>
            </a:r>
            <a:r>
              <a:rPr lang="en-GB" sz="1800" b="1" dirty="0">
                <a:solidFill>
                  <a:srgbClr val="1D1DE7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, CHCIO</a:t>
            </a:r>
            <a:endParaRPr lang="en-GB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en-GB" sz="1800" b="1" dirty="0">
                <a:solidFill>
                  <a:srgbClr val="1D1DE7"/>
                </a:solidFill>
                <a:effectLst/>
                <a:latin typeface="Arial" panose="020B06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Chief Information Officer / Executive Team</a:t>
            </a:r>
            <a:endParaRPr lang="en-GB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GB" sz="2400" b="1" i="1" dirty="0">
              <a:solidFill>
                <a:srgbClr val="0070C0"/>
              </a:solidFill>
            </a:endParaRPr>
          </a:p>
          <a:p>
            <a:endParaRPr lang="en-GB" sz="2400" b="1" i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452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766119" y="5514974"/>
            <a:ext cx="9901881" cy="1276350"/>
          </a:xfrm>
          <a:custGeom>
            <a:avLst/>
            <a:gdLst/>
            <a:ahLst/>
            <a:cxnLst/>
            <a:rect l="l" t="t" r="r" b="b"/>
            <a:pathLst>
              <a:path w="9144000" h="1314450">
                <a:moveTo>
                  <a:pt x="9144000" y="0"/>
                </a:moveTo>
                <a:lnTo>
                  <a:pt x="0" y="0"/>
                </a:lnTo>
                <a:lnTo>
                  <a:pt x="0" y="1314449"/>
                </a:lnTo>
                <a:lnTo>
                  <a:pt x="9144000" y="1314449"/>
                </a:lnTo>
                <a:lnTo>
                  <a:pt x="9144000" y="0"/>
                </a:lnTo>
                <a:close/>
              </a:path>
            </a:pathLst>
          </a:custGeom>
          <a:solidFill>
            <a:srgbClr val="005EB8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3" name="object 3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8267701" y="371475"/>
            <a:ext cx="2066925" cy="457200"/>
          </a:xfrm>
          <a:prstGeom prst="rect">
            <a:avLst/>
          </a:prstGeom>
        </p:spPr>
      </p:pic>
      <p:pic>
        <p:nvPicPr>
          <p:cNvPr id="4" name="object 4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524001" y="5657849"/>
            <a:ext cx="9143999" cy="1133475"/>
          </a:xfrm>
          <a:prstGeom prst="rect">
            <a:avLst/>
          </a:prstGeom>
        </p:spPr>
      </p:pic>
      <p:pic>
        <p:nvPicPr>
          <p:cNvPr id="5" name="object 5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766119" y="257176"/>
            <a:ext cx="9692331" cy="521017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7" name="Rectangle 16">
            <a:extLst>
              <a:ext uri="{FF2B5EF4-FFF2-40B4-BE49-F238E27FC236}">
                <a16:creationId xmlns:a16="http://schemas.microsoft.com/office/drawing/2014/main" id="{327D73B4-9F5C-4A64-A179-51B9500CB8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1F06963-6374-4B48-844F-071A9BAAAE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22965" y="554152"/>
            <a:ext cx="5742189" cy="5742189"/>
          </a:xfrm>
          <a:prstGeom prst="ellipse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 descr="A building with glass walls&#10;&#10;Description automatically generated">
            <a:extLst>
              <a:ext uri="{FF2B5EF4-FFF2-40B4-BE49-F238E27FC236}">
                <a16:creationId xmlns:a16="http://schemas.microsoft.com/office/drawing/2014/main" id="{93BDC887-7B83-A41B-044D-484FBDB67A1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7" r="40724" b="1"/>
          <a:stretch/>
        </p:blipFill>
        <p:spPr>
          <a:xfrm>
            <a:off x="505418" y="554151"/>
            <a:ext cx="5742189" cy="5742189"/>
          </a:xfrm>
          <a:custGeom>
            <a:avLst/>
            <a:gdLst/>
            <a:ahLst/>
            <a:cxnLst/>
            <a:rect l="l" t="t" r="r" b="b"/>
            <a:pathLst>
              <a:path w="1838528" h="1838528">
                <a:moveTo>
                  <a:pt x="919264" y="0"/>
                </a:moveTo>
                <a:cubicBezTo>
                  <a:pt x="1426959" y="0"/>
                  <a:pt x="1838528" y="411569"/>
                  <a:pt x="1838528" y="919264"/>
                </a:cubicBezTo>
                <a:cubicBezTo>
                  <a:pt x="1838528" y="1426959"/>
                  <a:pt x="1426959" y="1838528"/>
                  <a:pt x="919264" y="1838528"/>
                </a:cubicBezTo>
                <a:cubicBezTo>
                  <a:pt x="411569" y="1838528"/>
                  <a:pt x="0" y="1426959"/>
                  <a:pt x="0" y="919264"/>
                </a:cubicBezTo>
                <a:cubicBezTo>
                  <a:pt x="0" y="411569"/>
                  <a:pt x="411569" y="0"/>
                  <a:pt x="919264" y="0"/>
                </a:cubicBezTo>
                <a:close/>
              </a:path>
            </a:pathLst>
          </a:custGeom>
        </p:spPr>
      </p:pic>
      <p:sp>
        <p:nvSpPr>
          <p:cNvPr id="21" name="!!plus graphic">
            <a:extLst>
              <a:ext uri="{FF2B5EF4-FFF2-40B4-BE49-F238E27FC236}">
                <a16:creationId xmlns:a16="http://schemas.microsoft.com/office/drawing/2014/main" id="{6CB927A4-E432-4310-9CD5-E89FF50631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004956" y="703679"/>
            <a:ext cx="171515" cy="171515"/>
          </a:xfrm>
          <a:custGeom>
            <a:avLst/>
            <a:gdLst>
              <a:gd name="connsiteX0" fmla="*/ 159874 w 171515"/>
              <a:gd name="connsiteY0" fmla="*/ 74116 h 171515"/>
              <a:gd name="connsiteX1" fmla="*/ 97399 w 171515"/>
              <a:gd name="connsiteY1" fmla="*/ 74116 h 171515"/>
              <a:gd name="connsiteX2" fmla="*/ 97399 w 171515"/>
              <a:gd name="connsiteY2" fmla="*/ 11641 h 171515"/>
              <a:gd name="connsiteX3" fmla="*/ 85758 w 171515"/>
              <a:gd name="connsiteY3" fmla="*/ 0 h 171515"/>
              <a:gd name="connsiteX4" fmla="*/ 74116 w 171515"/>
              <a:gd name="connsiteY4" fmla="*/ 11641 h 171515"/>
              <a:gd name="connsiteX5" fmla="*/ 74116 w 171515"/>
              <a:gd name="connsiteY5" fmla="*/ 74116 h 171515"/>
              <a:gd name="connsiteX6" fmla="*/ 11641 w 171515"/>
              <a:gd name="connsiteY6" fmla="*/ 74116 h 171515"/>
              <a:gd name="connsiteX7" fmla="*/ 0 w 171515"/>
              <a:gd name="connsiteY7" fmla="*/ 85758 h 171515"/>
              <a:gd name="connsiteX8" fmla="*/ 11641 w 171515"/>
              <a:gd name="connsiteY8" fmla="*/ 97399 h 171515"/>
              <a:gd name="connsiteX9" fmla="*/ 74116 w 171515"/>
              <a:gd name="connsiteY9" fmla="*/ 97399 h 171515"/>
              <a:gd name="connsiteX10" fmla="*/ 74116 w 171515"/>
              <a:gd name="connsiteY10" fmla="*/ 159874 h 171515"/>
              <a:gd name="connsiteX11" fmla="*/ 85758 w 171515"/>
              <a:gd name="connsiteY11" fmla="*/ 171515 h 171515"/>
              <a:gd name="connsiteX12" fmla="*/ 97399 w 171515"/>
              <a:gd name="connsiteY12" fmla="*/ 159874 h 171515"/>
              <a:gd name="connsiteX13" fmla="*/ 97399 w 171515"/>
              <a:gd name="connsiteY13" fmla="*/ 97399 h 171515"/>
              <a:gd name="connsiteX14" fmla="*/ 159874 w 171515"/>
              <a:gd name="connsiteY14" fmla="*/ 97399 h 171515"/>
              <a:gd name="connsiteX15" fmla="*/ 171515 w 171515"/>
              <a:gd name="connsiteY15" fmla="*/ 85758 h 171515"/>
              <a:gd name="connsiteX16" fmla="*/ 159874 w 171515"/>
              <a:gd name="connsiteY16" fmla="*/ 74116 h 1715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71515" h="171515">
                <a:moveTo>
                  <a:pt x="159874" y="74116"/>
                </a:moveTo>
                <a:lnTo>
                  <a:pt x="97399" y="74116"/>
                </a:lnTo>
                <a:lnTo>
                  <a:pt x="97399" y="11641"/>
                </a:lnTo>
                <a:cubicBezTo>
                  <a:pt x="97399" y="5212"/>
                  <a:pt x="92187" y="0"/>
                  <a:pt x="85758" y="0"/>
                </a:cubicBezTo>
                <a:cubicBezTo>
                  <a:pt x="79328" y="0"/>
                  <a:pt x="74116" y="5212"/>
                  <a:pt x="74116" y="11641"/>
                </a:cubicBezTo>
                <a:lnTo>
                  <a:pt x="74116" y="74116"/>
                </a:lnTo>
                <a:lnTo>
                  <a:pt x="11641" y="74116"/>
                </a:lnTo>
                <a:cubicBezTo>
                  <a:pt x="5212" y="74116"/>
                  <a:pt x="0" y="79328"/>
                  <a:pt x="0" y="85758"/>
                </a:cubicBezTo>
                <a:cubicBezTo>
                  <a:pt x="0" y="92187"/>
                  <a:pt x="5212" y="97399"/>
                  <a:pt x="11641" y="97399"/>
                </a:cubicBezTo>
                <a:lnTo>
                  <a:pt x="74116" y="97399"/>
                </a:lnTo>
                <a:lnTo>
                  <a:pt x="74116" y="159874"/>
                </a:lnTo>
                <a:cubicBezTo>
                  <a:pt x="74116" y="166303"/>
                  <a:pt x="79328" y="171515"/>
                  <a:pt x="85758" y="171515"/>
                </a:cubicBezTo>
                <a:cubicBezTo>
                  <a:pt x="92187" y="171515"/>
                  <a:pt x="97399" y="166303"/>
                  <a:pt x="97399" y="159874"/>
                </a:cubicBezTo>
                <a:lnTo>
                  <a:pt x="97399" y="97399"/>
                </a:lnTo>
                <a:lnTo>
                  <a:pt x="159874" y="97399"/>
                </a:lnTo>
                <a:cubicBezTo>
                  <a:pt x="166303" y="97399"/>
                  <a:pt x="171515" y="92187"/>
                  <a:pt x="171515" y="85758"/>
                </a:cubicBezTo>
                <a:cubicBezTo>
                  <a:pt x="171515" y="79328"/>
                  <a:pt x="166303" y="74116"/>
                  <a:pt x="159874" y="74116"/>
                </a:cubicBezTo>
                <a:close/>
              </a:path>
            </a:pathLst>
          </a:custGeom>
          <a:solidFill>
            <a:schemeClr val="accent1"/>
          </a:solidFill>
          <a:ln w="77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3" name="!!circle graphic">
            <a:extLst>
              <a:ext uri="{FF2B5EF4-FFF2-40B4-BE49-F238E27FC236}">
                <a16:creationId xmlns:a16="http://schemas.microsoft.com/office/drawing/2014/main" id="{1453BF6C-B012-48B7-B4E8-6D7AC7C27D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2753" y="1562696"/>
            <a:ext cx="157545" cy="157545"/>
          </a:xfrm>
          <a:custGeom>
            <a:avLst/>
            <a:gdLst>
              <a:gd name="connsiteX0" fmla="*/ 78773 w 157545"/>
              <a:gd name="connsiteY0" fmla="*/ 23283 h 157545"/>
              <a:gd name="connsiteX1" fmla="*/ 134262 w 157545"/>
              <a:gd name="connsiteY1" fmla="*/ 78773 h 157545"/>
              <a:gd name="connsiteX2" fmla="*/ 78773 w 157545"/>
              <a:gd name="connsiteY2" fmla="*/ 134262 h 157545"/>
              <a:gd name="connsiteX3" fmla="*/ 23283 w 157545"/>
              <a:gd name="connsiteY3" fmla="*/ 78773 h 157545"/>
              <a:gd name="connsiteX4" fmla="*/ 78773 w 157545"/>
              <a:gd name="connsiteY4" fmla="*/ 23283 h 157545"/>
              <a:gd name="connsiteX5" fmla="*/ 78773 w 157545"/>
              <a:gd name="connsiteY5" fmla="*/ 0 h 157545"/>
              <a:gd name="connsiteX6" fmla="*/ 0 w 157545"/>
              <a:gd name="connsiteY6" fmla="*/ 78773 h 157545"/>
              <a:gd name="connsiteX7" fmla="*/ 78773 w 157545"/>
              <a:gd name="connsiteY7" fmla="*/ 157545 h 157545"/>
              <a:gd name="connsiteX8" fmla="*/ 157545 w 157545"/>
              <a:gd name="connsiteY8" fmla="*/ 78773 h 157545"/>
              <a:gd name="connsiteX9" fmla="*/ 78773 w 157545"/>
              <a:gd name="connsiteY9" fmla="*/ 0 h 157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57545" h="157545">
                <a:moveTo>
                  <a:pt x="78773" y="23283"/>
                </a:moveTo>
                <a:cubicBezTo>
                  <a:pt x="109419" y="23283"/>
                  <a:pt x="134262" y="48126"/>
                  <a:pt x="134262" y="78773"/>
                </a:cubicBezTo>
                <a:cubicBezTo>
                  <a:pt x="134262" y="109419"/>
                  <a:pt x="109419" y="134262"/>
                  <a:pt x="78773" y="134262"/>
                </a:cubicBezTo>
                <a:cubicBezTo>
                  <a:pt x="48126" y="134262"/>
                  <a:pt x="23283" y="109419"/>
                  <a:pt x="23283" y="78773"/>
                </a:cubicBezTo>
                <a:cubicBezTo>
                  <a:pt x="23312" y="48139"/>
                  <a:pt x="48139" y="23312"/>
                  <a:pt x="78773" y="23283"/>
                </a:cubicBezTo>
                <a:moveTo>
                  <a:pt x="78773" y="0"/>
                </a:moveTo>
                <a:cubicBezTo>
                  <a:pt x="35268" y="0"/>
                  <a:pt x="0" y="35268"/>
                  <a:pt x="0" y="78773"/>
                </a:cubicBezTo>
                <a:cubicBezTo>
                  <a:pt x="0" y="122277"/>
                  <a:pt x="35268" y="157545"/>
                  <a:pt x="78773" y="157545"/>
                </a:cubicBezTo>
                <a:cubicBezTo>
                  <a:pt x="122277" y="157545"/>
                  <a:pt x="157545" y="122277"/>
                  <a:pt x="157545" y="78773"/>
                </a:cubicBezTo>
                <a:cubicBezTo>
                  <a:pt x="157545" y="35268"/>
                  <a:pt x="122277" y="0"/>
                  <a:pt x="78773" y="0"/>
                </a:cubicBezTo>
                <a:close/>
              </a:path>
            </a:pathLst>
          </a:custGeom>
          <a:solidFill>
            <a:schemeClr val="accent1"/>
          </a:solidFill>
          <a:ln w="751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9DDCAD0F-B44F-6C2E-9DF8-B9437B4C6E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87514" y="703679"/>
            <a:ext cx="5393966" cy="4343602"/>
          </a:xfrm>
        </p:spPr>
        <p:txBody>
          <a:bodyPr anchor="t">
            <a:normAutofit fontScale="92500" lnSpcReduction="10000"/>
          </a:bodyPr>
          <a:lstStyle/>
          <a:p>
            <a:endParaRPr lang="en-US" sz="2000" dirty="0">
              <a:solidFill>
                <a:srgbClr val="0070C0">
                  <a:alpha val="80000"/>
                </a:srgbClr>
              </a:solidFill>
              <a:latin typeface="Aptos Black" panose="020F0502020204030204" pitchFamily="34" charset="0"/>
            </a:endParaRPr>
          </a:p>
          <a:p>
            <a:endParaRPr lang="en-US" sz="2000" dirty="0">
              <a:solidFill>
                <a:srgbClr val="0070C0">
                  <a:alpha val="80000"/>
                </a:srgbClr>
              </a:solidFill>
              <a:latin typeface="Aptos Black" panose="020F0502020204030204" pitchFamily="34" charset="0"/>
            </a:endParaRPr>
          </a:p>
          <a:p>
            <a:r>
              <a:rPr lang="en-US" sz="2000" dirty="0">
                <a:solidFill>
                  <a:srgbClr val="0070C0">
                    <a:alpha val="80000"/>
                  </a:srgbClr>
                </a:solidFill>
                <a:latin typeface="Aptos Black" panose="020F0502020204030204" pitchFamily="34" charset="0"/>
              </a:rPr>
              <a:t>THE EXCITEMENT OF THE NEW ROLE &amp; WHAT YOUR EXPECTATIONS WERE</a:t>
            </a:r>
          </a:p>
          <a:p>
            <a:pPr marL="0" indent="0">
              <a:buNone/>
            </a:pPr>
            <a:endParaRPr lang="en-US" sz="2000" dirty="0">
              <a:solidFill>
                <a:srgbClr val="0070C0">
                  <a:alpha val="80000"/>
                </a:srgbClr>
              </a:solidFill>
              <a:latin typeface="Aptos Black" panose="020F0502020204030204" pitchFamily="34" charset="0"/>
            </a:endParaRPr>
          </a:p>
          <a:p>
            <a:r>
              <a:rPr lang="en-US" sz="2000" dirty="0">
                <a:solidFill>
                  <a:srgbClr val="0070C0">
                    <a:alpha val="80000"/>
                  </a:srgbClr>
                </a:solidFill>
                <a:latin typeface="Aptos Black" panose="020F0502020204030204" pitchFamily="34" charset="0"/>
              </a:rPr>
              <a:t>THE BUBBLE BURSTS </a:t>
            </a:r>
          </a:p>
          <a:p>
            <a:pPr marL="0" indent="0">
              <a:buNone/>
            </a:pPr>
            <a:endParaRPr lang="en-US" sz="2000" dirty="0">
              <a:solidFill>
                <a:srgbClr val="0070C0">
                  <a:alpha val="80000"/>
                </a:srgbClr>
              </a:solidFill>
              <a:latin typeface="Aptos Black" panose="020F0502020204030204" pitchFamily="34" charset="0"/>
            </a:endParaRPr>
          </a:p>
          <a:p>
            <a:r>
              <a:rPr lang="en-US" sz="2000" dirty="0">
                <a:solidFill>
                  <a:srgbClr val="0070C0">
                    <a:alpha val="80000"/>
                  </a:srgbClr>
                </a:solidFill>
                <a:latin typeface="Aptos Black" panose="020F0502020204030204" pitchFamily="34" charset="0"/>
              </a:rPr>
              <a:t>MENTALLY REGROUPING AND REFRAMING</a:t>
            </a:r>
          </a:p>
          <a:p>
            <a:endParaRPr lang="en-US" sz="2000" dirty="0">
              <a:solidFill>
                <a:srgbClr val="0070C0">
                  <a:alpha val="80000"/>
                </a:srgbClr>
              </a:solidFill>
              <a:latin typeface="Aptos Black" panose="020F0502020204030204" pitchFamily="34" charset="0"/>
            </a:endParaRPr>
          </a:p>
          <a:p>
            <a:r>
              <a:rPr lang="en-US" sz="2000" dirty="0">
                <a:solidFill>
                  <a:srgbClr val="0070C0">
                    <a:alpha val="80000"/>
                  </a:srgbClr>
                </a:solidFill>
                <a:latin typeface="Aptos Black" panose="020F0502020204030204" pitchFamily="34" charset="0"/>
              </a:rPr>
              <a:t>HITTING YOUR STRIDE AND FINDING JOY AND THE THRILL OF WORKING WITH THE TEAM – WHY AUTHENTIC LEADERSHIP MATTERS</a:t>
            </a:r>
          </a:p>
          <a:p>
            <a:pPr marL="0" indent="0">
              <a:buNone/>
            </a:pPr>
            <a:endParaRPr lang="en-US" sz="2000" dirty="0">
              <a:solidFill>
                <a:schemeClr val="tx1">
                  <a:alpha val="80000"/>
                </a:schemeClr>
              </a:solidFill>
            </a:endParaRPr>
          </a:p>
        </p:txBody>
      </p:sp>
      <p:sp>
        <p:nvSpPr>
          <p:cNvPr id="25" name="!!dot graphic">
            <a:extLst>
              <a:ext uri="{FF2B5EF4-FFF2-40B4-BE49-F238E27FC236}">
                <a16:creationId xmlns:a16="http://schemas.microsoft.com/office/drawing/2014/main" id="{E3020543-B24B-4EC4-8FFC-8DD88EEA91A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5454149" y="5775082"/>
            <a:ext cx="112426" cy="112426"/>
          </a:xfrm>
          <a:custGeom>
            <a:avLst/>
            <a:gdLst>
              <a:gd name="connsiteX0" fmla="*/ 112426 w 112426"/>
              <a:gd name="connsiteY0" fmla="*/ 56213 h 112426"/>
              <a:gd name="connsiteX1" fmla="*/ 56213 w 112426"/>
              <a:gd name="connsiteY1" fmla="*/ 112426 h 112426"/>
              <a:gd name="connsiteX2" fmla="*/ 0 w 112426"/>
              <a:gd name="connsiteY2" fmla="*/ 56213 h 112426"/>
              <a:gd name="connsiteX3" fmla="*/ 56213 w 112426"/>
              <a:gd name="connsiteY3" fmla="*/ 0 h 112426"/>
              <a:gd name="connsiteX4" fmla="*/ 112426 w 112426"/>
              <a:gd name="connsiteY4" fmla="*/ 56213 h 1124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2426" h="112426">
                <a:moveTo>
                  <a:pt x="112426" y="56213"/>
                </a:moveTo>
                <a:cubicBezTo>
                  <a:pt x="112426" y="87259"/>
                  <a:pt x="87259" y="112426"/>
                  <a:pt x="56213" y="112426"/>
                </a:cubicBezTo>
                <a:cubicBezTo>
                  <a:pt x="25167" y="112426"/>
                  <a:pt x="0" y="87259"/>
                  <a:pt x="0" y="56213"/>
                </a:cubicBezTo>
                <a:cubicBezTo>
                  <a:pt x="0" y="25167"/>
                  <a:pt x="25167" y="0"/>
                  <a:pt x="56213" y="0"/>
                </a:cubicBezTo>
                <a:cubicBezTo>
                  <a:pt x="87259" y="0"/>
                  <a:pt x="112426" y="25167"/>
                  <a:pt x="112426" y="56213"/>
                </a:cubicBezTo>
                <a:close/>
              </a:path>
            </a:pathLst>
          </a:custGeom>
          <a:solidFill>
            <a:schemeClr val="accent1"/>
          </a:solidFill>
          <a:ln w="51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cxnSp>
        <p:nvCxnSpPr>
          <p:cNvPr id="27" name="!!Straight Connector">
            <a:extLst>
              <a:ext uri="{FF2B5EF4-FFF2-40B4-BE49-F238E27FC236}">
                <a16:creationId xmlns:a16="http://schemas.microsoft.com/office/drawing/2014/main" id="{C49DA8F6-BCC1-4447-B54C-57856834B9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11586162" y="3619272"/>
            <a:ext cx="0" cy="3238728"/>
          </a:xfrm>
          <a:prstGeom prst="line">
            <a:avLst/>
          </a:prstGeom>
          <a:ln w="25400" cap="sq">
            <a:gradFill flip="none" rotWithShape="1"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6200000" scaled="1"/>
              <a:tileRect/>
            </a:gradFill>
            <a:beve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16480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51" t="26395" r="3686" b="27801"/>
          <a:stretch/>
        </p:blipFill>
        <p:spPr>
          <a:xfrm>
            <a:off x="9744768" y="386683"/>
            <a:ext cx="2096477" cy="918232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332816" y="4479003"/>
            <a:ext cx="5907161" cy="9130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Rectangle 11"/>
          <p:cNvSpPr/>
          <p:nvPr/>
        </p:nvSpPr>
        <p:spPr>
          <a:xfrm>
            <a:off x="332817" y="2698965"/>
            <a:ext cx="7520460" cy="89213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/>
        </p:nvSpPr>
        <p:spPr>
          <a:xfrm>
            <a:off x="332817" y="815638"/>
            <a:ext cx="8453910" cy="615679"/>
          </a:xfrm>
          <a:prstGeom prst="rect">
            <a:avLst/>
          </a:prstGeom>
          <a:gradFill flip="none" rotWithShape="1">
            <a:gsLst>
              <a:gs pos="0">
                <a:srgbClr val="8CCADA">
                  <a:tint val="66000"/>
                  <a:satMod val="160000"/>
                </a:srgbClr>
              </a:gs>
              <a:gs pos="50000">
                <a:srgbClr val="8CCADA">
                  <a:tint val="44500"/>
                  <a:satMod val="160000"/>
                </a:srgbClr>
              </a:gs>
              <a:gs pos="100000">
                <a:srgbClr val="8CCADA">
                  <a:tint val="23500"/>
                  <a:satMod val="16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/>
          <p:cNvSpPr/>
          <p:nvPr/>
        </p:nvSpPr>
        <p:spPr>
          <a:xfrm>
            <a:off x="7958052" y="4216977"/>
            <a:ext cx="3883193" cy="1356960"/>
          </a:xfrm>
          <a:prstGeom prst="rect">
            <a:avLst/>
          </a:prstGeom>
          <a:gradFill flip="none" rotWithShape="1">
            <a:gsLst>
              <a:gs pos="0">
                <a:srgbClr val="8CCADA">
                  <a:tint val="66000"/>
                  <a:satMod val="160000"/>
                </a:srgbClr>
              </a:gs>
              <a:gs pos="50000">
                <a:srgbClr val="8CCADA">
                  <a:tint val="44500"/>
                  <a:satMod val="160000"/>
                </a:srgbClr>
              </a:gs>
              <a:gs pos="100000">
                <a:srgbClr val="8CCADA">
                  <a:tint val="23500"/>
                  <a:satMod val="160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0" imgH="371" progId="TCLayout.ActiveDocument.1">
                  <p:embed/>
                </p:oleObj>
              </mc:Choice>
              <mc:Fallback>
                <p:oleObj name="think-cell Slide" r:id="rId4" imgW="370" imgH="371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/>
          <a:srcRect r="11821"/>
          <a:stretch/>
        </p:blipFill>
        <p:spPr>
          <a:xfrm>
            <a:off x="5360937" y="486359"/>
            <a:ext cx="6273321" cy="5543692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399319" y="816380"/>
            <a:ext cx="544995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100" lvl="2">
              <a:spcBef>
                <a:spcPts val="1000"/>
              </a:spcBef>
              <a:spcAft>
                <a:spcPts val="300"/>
              </a:spcAft>
              <a:buSzPts val="1000"/>
              <a:tabLst>
                <a:tab pos="1519555" algn="l"/>
              </a:tabLst>
            </a:pPr>
            <a:r>
              <a:rPr lang="en-GB" sz="1600" i="1">
                <a:solidFill>
                  <a:srgbClr val="007F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r NHS Trusts working together for the benefit of </a:t>
            </a:r>
            <a:r>
              <a:rPr lang="en-GB" sz="1600" i="1">
                <a:solidFill>
                  <a:srgbClr val="007FA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ur patients and staff, our local areas and the wider region.</a:t>
            </a:r>
          </a:p>
        </p:txBody>
      </p:sp>
      <p:sp>
        <p:nvSpPr>
          <p:cNvPr id="8" name="Rectangle 7"/>
          <p:cNvSpPr/>
          <p:nvPr/>
        </p:nvSpPr>
        <p:spPr>
          <a:xfrm>
            <a:off x="8581000" y="4253228"/>
            <a:ext cx="2898877" cy="12875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lvl="2" indent="-228600">
              <a:spcBef>
                <a:spcPts val="1000"/>
              </a:spcBef>
              <a:spcAft>
                <a:spcPts val="300"/>
              </a:spcAft>
              <a:buSzPts val="1000"/>
              <a:buFont typeface="Arial" panose="020B0604020202020204" pitchFamily="34" charset="0"/>
              <a:buChar char="•"/>
              <a:tabLst>
                <a:tab pos="1519555" algn="l"/>
              </a:tabLst>
            </a:pPr>
            <a:r>
              <a:rPr lang="en-GB" sz="1400">
                <a:solidFill>
                  <a:srgbClr val="007FA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Caring for over </a:t>
            </a:r>
            <a:r>
              <a:rPr lang="en-GB" sz="1400" b="1">
                <a:solidFill>
                  <a:srgbClr val="007FA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1.3m patients </a:t>
            </a:r>
            <a:r>
              <a:rPr lang="en-GB" sz="1400">
                <a:solidFill>
                  <a:srgbClr val="007FA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over </a:t>
            </a:r>
            <a:r>
              <a:rPr lang="en-GB" sz="1400" b="1">
                <a:solidFill>
                  <a:srgbClr val="007FA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4,600 square miles </a:t>
            </a:r>
          </a:p>
          <a:p>
            <a:pPr marL="266700" lvl="2" indent="-228600">
              <a:spcBef>
                <a:spcPts val="1000"/>
              </a:spcBef>
              <a:spcAft>
                <a:spcPts val="300"/>
              </a:spcAft>
              <a:buSzPts val="1000"/>
              <a:buFont typeface="Arial" panose="020B0604020202020204" pitchFamily="34" charset="0"/>
              <a:buChar char="•"/>
              <a:tabLst>
                <a:tab pos="1519555" algn="l"/>
              </a:tabLst>
            </a:pPr>
            <a:r>
              <a:rPr lang="en-GB" sz="1400" b="1">
                <a:solidFill>
                  <a:srgbClr val="007FA4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35,000 staff</a:t>
            </a:r>
          </a:p>
          <a:p>
            <a:pPr marL="266700" lvl="2" indent="-228600">
              <a:spcBef>
                <a:spcPts val="1000"/>
              </a:spcBef>
              <a:spcAft>
                <a:spcPts val="300"/>
              </a:spcAft>
              <a:buSzPts val="1000"/>
              <a:buFont typeface="Arial" panose="020B0604020202020204" pitchFamily="34" charset="0"/>
              <a:buChar char="•"/>
              <a:tabLst>
                <a:tab pos="1519555" algn="l"/>
              </a:tabLst>
            </a:pPr>
            <a:r>
              <a:rPr lang="en-GB" sz="1400" b="1">
                <a:solidFill>
                  <a:srgbClr val="007F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£3 billion </a:t>
            </a:r>
            <a:r>
              <a:rPr lang="en-GB" sz="1400">
                <a:solidFill>
                  <a:srgbClr val="007F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nual spend</a:t>
            </a:r>
            <a:endParaRPr lang="en-GB" sz="1400">
              <a:solidFill>
                <a:srgbClr val="007FA4"/>
              </a:solidFill>
              <a:effectLst/>
              <a:cs typeface="Times New Roman" panose="02020603050405020304" pitchFamily="18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49692" y="291801"/>
            <a:ext cx="599028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000" b="1">
                <a:solidFill>
                  <a:srgbClr val="007F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at North Healthcare Alliance</a:t>
            </a:r>
            <a:endParaRPr lang="en-GB" sz="3000" b="1">
              <a:solidFill>
                <a:srgbClr val="007FA4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42170" y="1632244"/>
            <a:ext cx="6744444" cy="48962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100" lvl="2">
              <a:spcBef>
                <a:spcPts val="1000"/>
              </a:spcBef>
              <a:spcAft>
                <a:spcPts val="300"/>
              </a:spcAft>
              <a:buSzPts val="1000"/>
              <a:tabLst>
                <a:tab pos="1519555" algn="l"/>
              </a:tabLst>
            </a:pPr>
            <a:r>
              <a:rPr lang="en-GB" b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working together we will: </a:t>
            </a:r>
          </a:p>
          <a:p>
            <a:pPr marL="323850" lvl="2" indent="-285750">
              <a:spcBef>
                <a:spcPts val="1000"/>
              </a:spcBef>
              <a:spcAft>
                <a:spcPts val="300"/>
              </a:spcAft>
              <a:buSzPts val="1000"/>
              <a:buFont typeface="Arial" panose="020B0604020202020204" pitchFamily="34" charset="0"/>
              <a:buChar char="•"/>
              <a:tabLst>
                <a:tab pos="1519555" algn="l"/>
              </a:tabLst>
            </a:pP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patient outcomes and reduce inequalities by strengthening our services and making it easier to access the best clinical care. </a:t>
            </a:r>
          </a:p>
          <a:p>
            <a:pPr marL="323850" lvl="2" indent="-285750">
              <a:spcBef>
                <a:spcPts val="1000"/>
              </a:spcBef>
              <a:spcAft>
                <a:spcPts val="300"/>
              </a:spcAft>
              <a:buSzPts val="1000"/>
              <a:buFont typeface="Arial" panose="020B0604020202020204" pitchFamily="34" charset="0"/>
              <a:buChar char="•"/>
              <a:tabLst>
                <a:tab pos="1519555" algn="l"/>
              </a:tabLst>
            </a:pP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great places to work by joining up our recruitment and </a:t>
            </a:r>
            <a:b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ff experience offer and by sharing career development opportunities.</a:t>
            </a:r>
          </a:p>
          <a:p>
            <a:pPr marL="266700" lvl="2" indent="-228600">
              <a:spcBef>
                <a:spcPts val="1000"/>
              </a:spcBef>
              <a:spcAft>
                <a:spcPts val="300"/>
              </a:spcAft>
              <a:buSzPts val="1000"/>
              <a:buFont typeface="Arial" panose="020B0604020202020204" pitchFamily="34" charset="0"/>
              <a:buChar char="•"/>
              <a:tabLst>
                <a:tab pos="1519555" algn="l"/>
              </a:tabLst>
            </a:pP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oneer innovation, transformation, research and </a:t>
            </a:r>
            <a:b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, making the most of our academic </a:t>
            </a:r>
            <a:b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commercial opportunities.</a:t>
            </a:r>
          </a:p>
          <a:p>
            <a:pPr marL="266700" lvl="2" indent="-228600">
              <a:spcBef>
                <a:spcPts val="1000"/>
              </a:spcBef>
              <a:spcAft>
                <a:spcPts val="300"/>
              </a:spcAft>
              <a:buSzPts val="1000"/>
              <a:buFont typeface="Arial" panose="020B0604020202020204" pitchFamily="34" charset="0"/>
              <a:buChar char="•"/>
              <a:tabLst>
                <a:tab pos="1519555" algn="l"/>
              </a:tabLst>
            </a:pP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 health inequalities and do more for our </a:t>
            </a:r>
            <a:b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nomy, environment and communities through </a:t>
            </a:r>
            <a:b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cal and national partnerships.</a:t>
            </a:r>
          </a:p>
          <a:p>
            <a:pPr marL="266700" lvl="2" indent="-228600">
              <a:spcBef>
                <a:spcPts val="1000"/>
              </a:spcBef>
              <a:spcAft>
                <a:spcPts val="300"/>
              </a:spcAft>
              <a:buSzPts val="1000"/>
              <a:buFont typeface="Arial" panose="020B0604020202020204" pitchFamily="34" charset="0"/>
              <a:buChar char="•"/>
              <a:tabLst>
                <a:tab pos="1519555" algn="l"/>
              </a:tabLst>
            </a:pP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a financially sustainable value for money </a:t>
            </a:r>
            <a:b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economy that raises revenue by treating as </a:t>
            </a:r>
            <a:b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y patients as possible within the resources </a:t>
            </a:r>
            <a:b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600" i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vailable, commercial activity and cost reduction.</a:t>
            </a:r>
          </a:p>
        </p:txBody>
      </p:sp>
      <p:sp>
        <p:nvSpPr>
          <p:cNvPr id="10" name="Rectangle 9"/>
          <p:cNvSpPr/>
          <p:nvPr/>
        </p:nvSpPr>
        <p:spPr>
          <a:xfrm>
            <a:off x="5779117" y="5988486"/>
            <a:ext cx="6269115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100" lvl="2">
              <a:spcBef>
                <a:spcPts val="1000"/>
              </a:spcBef>
              <a:spcAft>
                <a:spcPts val="300"/>
              </a:spcAft>
              <a:buSzPts val="1000"/>
              <a:tabLst>
                <a:tab pos="1519555" algn="l"/>
              </a:tabLst>
            </a:pPr>
            <a:r>
              <a:rPr lang="en-GB" sz="1250" i="1">
                <a:solidFill>
                  <a:srgbClr val="007F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Each Trust will retain its independent identity, and each Trust has the right to opt in </a:t>
            </a:r>
            <a:br>
              <a:rPr lang="en-GB" sz="1250" i="1">
                <a:solidFill>
                  <a:srgbClr val="007FA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250" i="1">
                <a:solidFill>
                  <a:srgbClr val="007FA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out of proposals, and act appropriately for their organisation and their communities.</a:t>
            </a:r>
            <a:endParaRPr lang="en-GB" sz="1250" i="1">
              <a:solidFill>
                <a:srgbClr val="007FA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45329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4BC99CB9-DDAD-44A2-8A1C-E3AF4E72DF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1"/>
            <a:ext cx="12191695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4053CBF-3932-45FF-8285-EE5146085F3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695" cy="6858000"/>
          </a:xfrm>
          <a:prstGeom prst="rect">
            <a:avLst/>
          </a:prstGeom>
          <a:gradFill flip="none" rotWithShape="1">
            <a:gsLst>
              <a:gs pos="16000">
                <a:schemeClr val="accent6">
                  <a:alpha val="20000"/>
                </a:schemeClr>
              </a:gs>
              <a:gs pos="85000">
                <a:schemeClr val="accent1">
                  <a:alpha val="40000"/>
                </a:schemeClr>
              </a:gs>
            </a:gsLst>
            <a:lin ang="12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E751C04-BEA6-446B-A678-9C74819EBD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flipH="1">
            <a:off x="-18230" y="-8167"/>
            <a:ext cx="4834070" cy="2488150"/>
            <a:chOff x="6867015" y="-1"/>
            <a:chExt cx="5324985" cy="3251912"/>
          </a:xfrm>
          <a:solidFill>
            <a:schemeClr val="bg1">
              <a:alpha val="30000"/>
            </a:schemeClr>
          </a:solidFill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2625A013-D9BE-43C4-AF21-6F2B003EFBE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867015" y="-1"/>
              <a:ext cx="5324985" cy="3251912"/>
            </a:xfrm>
            <a:custGeom>
              <a:avLst/>
              <a:gdLst>
                <a:gd name="connsiteX0" fmla="*/ 0 w 5324985"/>
                <a:gd name="connsiteY0" fmla="*/ 0 h 3251912"/>
                <a:gd name="connsiteX1" fmla="*/ 36826 w 5324985"/>
                <a:gd name="connsiteY1" fmla="*/ 0 h 3251912"/>
                <a:gd name="connsiteX2" fmla="*/ 45003 w 5324985"/>
                <a:gd name="connsiteY2" fmla="*/ 152909 h 3251912"/>
                <a:gd name="connsiteX3" fmla="*/ 68956 w 5324985"/>
                <a:gd name="connsiteY3" fmla="*/ 308600 h 3251912"/>
                <a:gd name="connsiteX4" fmla="*/ 167774 w 5324985"/>
                <a:gd name="connsiteY4" fmla="*/ 607968 h 3251912"/>
                <a:gd name="connsiteX5" fmla="*/ 201857 w 5324985"/>
                <a:gd name="connsiteY5" fmla="*/ 679539 h 3251912"/>
                <a:gd name="connsiteX6" fmla="*/ 239741 w 5324985"/>
                <a:gd name="connsiteY6" fmla="*/ 749488 h 3251912"/>
                <a:gd name="connsiteX7" fmla="*/ 323724 w 5324985"/>
                <a:gd name="connsiteY7" fmla="*/ 885101 h 3251912"/>
                <a:gd name="connsiteX8" fmla="*/ 416412 w 5324985"/>
                <a:gd name="connsiteY8" fmla="*/ 1016081 h 3251912"/>
                <a:gd name="connsiteX9" fmla="*/ 515719 w 5324985"/>
                <a:gd name="connsiteY9" fmla="*/ 1143356 h 3251912"/>
                <a:gd name="connsiteX10" fmla="*/ 722427 w 5324985"/>
                <a:gd name="connsiteY10" fmla="*/ 1395127 h 3251912"/>
                <a:gd name="connsiteX11" fmla="*/ 825780 w 5324985"/>
                <a:gd name="connsiteY11" fmla="*/ 1522749 h 3251912"/>
                <a:gd name="connsiteX12" fmla="*/ 926314 w 5324985"/>
                <a:gd name="connsiteY12" fmla="*/ 1651992 h 3251912"/>
                <a:gd name="connsiteX13" fmla="*/ 1026848 w 5324985"/>
                <a:gd name="connsiteY13" fmla="*/ 1776836 h 3251912"/>
                <a:gd name="connsiteX14" fmla="*/ 1131918 w 5324985"/>
                <a:gd name="connsiteY14" fmla="*/ 1897393 h 3251912"/>
                <a:gd name="connsiteX15" fmla="*/ 1354688 w 5324985"/>
                <a:gd name="connsiteY15" fmla="*/ 2124728 h 3251912"/>
                <a:gd name="connsiteX16" fmla="*/ 1855027 w 5324985"/>
                <a:gd name="connsiteY16" fmla="*/ 2504236 h 3251912"/>
                <a:gd name="connsiteX17" fmla="*/ 2131618 w 5324985"/>
                <a:gd name="connsiteY17" fmla="*/ 2646913 h 3251912"/>
                <a:gd name="connsiteX18" fmla="*/ 2423534 w 5324985"/>
                <a:gd name="connsiteY18" fmla="*/ 2754732 h 3251912"/>
                <a:gd name="connsiteX19" fmla="*/ 2727588 w 5324985"/>
                <a:gd name="connsiteY19" fmla="*/ 2829197 h 3251912"/>
                <a:gd name="connsiteX20" fmla="*/ 3041083 w 5324985"/>
                <a:gd name="connsiteY20" fmla="*/ 2870890 h 3251912"/>
                <a:gd name="connsiteX21" fmla="*/ 3360340 w 5324985"/>
                <a:gd name="connsiteY21" fmla="*/ 2883976 h 3251912"/>
                <a:gd name="connsiteX22" fmla="*/ 3439663 w 5324985"/>
                <a:gd name="connsiteY22" fmla="*/ 2883396 h 3251912"/>
                <a:gd name="connsiteX23" fmla="*/ 3478529 w 5324985"/>
                <a:gd name="connsiteY23" fmla="*/ 2882471 h 3251912"/>
                <a:gd name="connsiteX24" fmla="*/ 3517271 w 5324985"/>
                <a:gd name="connsiteY24" fmla="*/ 2880616 h 3251912"/>
                <a:gd name="connsiteX25" fmla="*/ 3671260 w 5324985"/>
                <a:gd name="connsiteY25" fmla="*/ 2867878 h 3251912"/>
                <a:gd name="connsiteX26" fmla="*/ 4265268 w 5324985"/>
                <a:gd name="connsiteY26" fmla="*/ 2716283 h 3251912"/>
                <a:gd name="connsiteX27" fmla="*/ 4546395 w 5324985"/>
                <a:gd name="connsiteY27" fmla="*/ 2584724 h 3251912"/>
                <a:gd name="connsiteX28" fmla="*/ 4817837 w 5324985"/>
                <a:gd name="connsiteY28" fmla="*/ 2424674 h 3251912"/>
                <a:gd name="connsiteX29" fmla="*/ 5081677 w 5324985"/>
                <a:gd name="connsiteY29" fmla="*/ 2243548 h 3251912"/>
                <a:gd name="connsiteX30" fmla="*/ 5211881 w 5324985"/>
                <a:gd name="connsiteY30" fmla="*/ 2147658 h 3251912"/>
                <a:gd name="connsiteX31" fmla="*/ 5324985 w 5324985"/>
                <a:gd name="connsiteY31" fmla="*/ 2062128 h 3251912"/>
                <a:gd name="connsiteX32" fmla="*/ 5324985 w 5324985"/>
                <a:gd name="connsiteY32" fmla="*/ 2514993 h 3251912"/>
                <a:gd name="connsiteX33" fmla="*/ 5314867 w 5324985"/>
                <a:gd name="connsiteY33" fmla="*/ 2522881 h 3251912"/>
                <a:gd name="connsiteX34" fmla="*/ 5038276 w 5324985"/>
                <a:gd name="connsiteY34" fmla="*/ 2722421 h 3251912"/>
                <a:gd name="connsiteX35" fmla="*/ 4741701 w 5324985"/>
                <a:gd name="connsiteY35" fmla="*/ 2904937 h 3251912"/>
                <a:gd name="connsiteX36" fmla="*/ 4420728 w 5324985"/>
                <a:gd name="connsiteY36" fmla="*/ 3058848 h 3251912"/>
                <a:gd name="connsiteX37" fmla="*/ 3717481 w 5324985"/>
                <a:gd name="connsiteY37" fmla="*/ 3237079 h 3251912"/>
                <a:gd name="connsiteX38" fmla="*/ 3535661 w 5324985"/>
                <a:gd name="connsiteY38" fmla="*/ 3249934 h 3251912"/>
                <a:gd name="connsiteX39" fmla="*/ 3490175 w 5324985"/>
                <a:gd name="connsiteY39" fmla="*/ 3251555 h 3251912"/>
                <a:gd name="connsiteX40" fmla="*/ 3444813 w 5324985"/>
                <a:gd name="connsiteY40" fmla="*/ 3251787 h 3251912"/>
                <a:gd name="connsiteX41" fmla="*/ 3355681 w 5324985"/>
                <a:gd name="connsiteY41" fmla="*/ 3250745 h 3251912"/>
                <a:gd name="connsiteX42" fmla="*/ 3179011 w 5324985"/>
                <a:gd name="connsiteY42" fmla="*/ 3243795 h 3251912"/>
                <a:gd name="connsiteX43" fmla="*/ 3002217 w 5324985"/>
                <a:gd name="connsiteY43" fmla="*/ 3227814 h 3251912"/>
                <a:gd name="connsiteX44" fmla="*/ 2650103 w 5324985"/>
                <a:gd name="connsiteY44" fmla="*/ 3170836 h 3251912"/>
                <a:gd name="connsiteX45" fmla="*/ 2305836 w 5324985"/>
                <a:gd name="connsiteY45" fmla="*/ 3072514 h 3251912"/>
                <a:gd name="connsiteX46" fmla="*/ 1978611 w 5324985"/>
                <a:gd name="connsiteY46" fmla="*/ 2929952 h 3251912"/>
                <a:gd name="connsiteX47" fmla="*/ 1678235 w 5324985"/>
                <a:gd name="connsiteY47" fmla="*/ 2744424 h 3251912"/>
                <a:gd name="connsiteX48" fmla="*/ 1175688 w 5324985"/>
                <a:gd name="connsiteY48" fmla="*/ 2277018 h 3251912"/>
                <a:gd name="connsiteX49" fmla="*/ 971310 w 5324985"/>
                <a:gd name="connsiteY49" fmla="*/ 2012044 h 3251912"/>
                <a:gd name="connsiteX50" fmla="*/ 790717 w 5324985"/>
                <a:gd name="connsiteY50" fmla="*/ 1735723 h 3251912"/>
                <a:gd name="connsiteX51" fmla="*/ 706488 w 5324985"/>
                <a:gd name="connsiteY51" fmla="*/ 1598604 h 3251912"/>
                <a:gd name="connsiteX52" fmla="*/ 618951 w 5324985"/>
                <a:gd name="connsiteY52" fmla="*/ 1463802 h 3251912"/>
                <a:gd name="connsiteX53" fmla="*/ 436273 w 5324985"/>
                <a:gd name="connsiteY53" fmla="*/ 1195355 h 3251912"/>
                <a:gd name="connsiteX54" fmla="*/ 346896 w 5324985"/>
                <a:gd name="connsiteY54" fmla="*/ 1058816 h 3251912"/>
                <a:gd name="connsiteX55" fmla="*/ 261809 w 5324985"/>
                <a:gd name="connsiteY55" fmla="*/ 919264 h 3251912"/>
                <a:gd name="connsiteX56" fmla="*/ 118487 w 5324985"/>
                <a:gd name="connsiteY56" fmla="*/ 626498 h 3251912"/>
                <a:gd name="connsiteX57" fmla="*/ 28130 w 5324985"/>
                <a:gd name="connsiteY57" fmla="*/ 315781 h 3251912"/>
                <a:gd name="connsiteX58" fmla="*/ 6751 w 5324985"/>
                <a:gd name="connsiteY58" fmla="*/ 156195 h 32519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5324985" h="3251912">
                  <a:moveTo>
                    <a:pt x="0" y="0"/>
                  </a:moveTo>
                  <a:lnTo>
                    <a:pt x="36826" y="0"/>
                  </a:lnTo>
                  <a:lnTo>
                    <a:pt x="45003" y="152909"/>
                  </a:lnTo>
                  <a:cubicBezTo>
                    <a:pt x="50351" y="205154"/>
                    <a:pt x="58290" y="257123"/>
                    <a:pt x="68956" y="308600"/>
                  </a:cubicBezTo>
                  <a:cubicBezTo>
                    <a:pt x="91393" y="411324"/>
                    <a:pt x="123882" y="511847"/>
                    <a:pt x="167774" y="607968"/>
                  </a:cubicBezTo>
                  <a:cubicBezTo>
                    <a:pt x="178195" y="632173"/>
                    <a:pt x="190333" y="655798"/>
                    <a:pt x="201857" y="679539"/>
                  </a:cubicBezTo>
                  <a:cubicBezTo>
                    <a:pt x="214363" y="702933"/>
                    <a:pt x="226255" y="726557"/>
                    <a:pt x="239741" y="749488"/>
                  </a:cubicBezTo>
                  <a:cubicBezTo>
                    <a:pt x="265488" y="795812"/>
                    <a:pt x="294176" y="840746"/>
                    <a:pt x="323724" y="885101"/>
                  </a:cubicBezTo>
                  <a:cubicBezTo>
                    <a:pt x="353149" y="929572"/>
                    <a:pt x="384657" y="972885"/>
                    <a:pt x="416412" y="1016081"/>
                  </a:cubicBezTo>
                  <a:cubicBezTo>
                    <a:pt x="448655" y="1058931"/>
                    <a:pt x="482127" y="1101202"/>
                    <a:pt x="515719" y="1143356"/>
                  </a:cubicBezTo>
                  <a:cubicBezTo>
                    <a:pt x="583027" y="1227782"/>
                    <a:pt x="653402" y="1310470"/>
                    <a:pt x="722427" y="1395127"/>
                  </a:cubicBezTo>
                  <a:cubicBezTo>
                    <a:pt x="757123" y="1437282"/>
                    <a:pt x="791697" y="1479783"/>
                    <a:pt x="825780" y="1522749"/>
                  </a:cubicBezTo>
                  <a:cubicBezTo>
                    <a:pt x="859742" y="1565367"/>
                    <a:pt x="893457" y="1610649"/>
                    <a:pt x="926314" y="1651992"/>
                  </a:cubicBezTo>
                  <a:cubicBezTo>
                    <a:pt x="958927" y="1694379"/>
                    <a:pt x="993132" y="1735492"/>
                    <a:pt x="1026848" y="1776836"/>
                  </a:cubicBezTo>
                  <a:cubicBezTo>
                    <a:pt x="1061545" y="1817485"/>
                    <a:pt x="1095996" y="1858133"/>
                    <a:pt x="1131918" y="1897393"/>
                  </a:cubicBezTo>
                  <a:cubicBezTo>
                    <a:pt x="1203273" y="1976376"/>
                    <a:pt x="1277447" y="2052463"/>
                    <a:pt x="1354688" y="2124728"/>
                  </a:cubicBezTo>
                  <a:cubicBezTo>
                    <a:pt x="1509411" y="2268911"/>
                    <a:pt x="1676396" y="2397575"/>
                    <a:pt x="1855027" y="2504236"/>
                  </a:cubicBezTo>
                  <a:cubicBezTo>
                    <a:pt x="1944528" y="2557277"/>
                    <a:pt x="2036357" y="2605917"/>
                    <a:pt x="2131618" y="2646913"/>
                  </a:cubicBezTo>
                  <a:cubicBezTo>
                    <a:pt x="2226267" y="2689068"/>
                    <a:pt x="2323981" y="2724622"/>
                    <a:pt x="2423534" y="2754732"/>
                  </a:cubicBezTo>
                  <a:cubicBezTo>
                    <a:pt x="2523087" y="2784958"/>
                    <a:pt x="2624602" y="2809394"/>
                    <a:pt x="2727588" y="2829197"/>
                  </a:cubicBezTo>
                  <a:cubicBezTo>
                    <a:pt x="2830698" y="2848653"/>
                    <a:pt x="2935522" y="2861971"/>
                    <a:pt x="3041083" y="2870890"/>
                  </a:cubicBezTo>
                  <a:cubicBezTo>
                    <a:pt x="3146644" y="2879922"/>
                    <a:pt x="3253307" y="2883860"/>
                    <a:pt x="3360340" y="2883976"/>
                  </a:cubicBezTo>
                  <a:cubicBezTo>
                    <a:pt x="3387067" y="2883976"/>
                    <a:pt x="3414162" y="2884439"/>
                    <a:pt x="3439663" y="2883396"/>
                  </a:cubicBezTo>
                  <a:lnTo>
                    <a:pt x="3478529" y="2882471"/>
                  </a:lnTo>
                  <a:lnTo>
                    <a:pt x="3517271" y="2880616"/>
                  </a:lnTo>
                  <a:cubicBezTo>
                    <a:pt x="3568887" y="2878417"/>
                    <a:pt x="3620257" y="2873552"/>
                    <a:pt x="3671260" y="2867878"/>
                  </a:cubicBezTo>
                  <a:cubicBezTo>
                    <a:pt x="3875515" y="2844253"/>
                    <a:pt x="4074253" y="2792486"/>
                    <a:pt x="4265268" y="2716283"/>
                  </a:cubicBezTo>
                  <a:cubicBezTo>
                    <a:pt x="4361020" y="2678529"/>
                    <a:pt x="4454444" y="2633710"/>
                    <a:pt x="4546395" y="2584724"/>
                  </a:cubicBezTo>
                  <a:cubicBezTo>
                    <a:pt x="4638470" y="2535967"/>
                    <a:pt x="4728827" y="2481885"/>
                    <a:pt x="4817837" y="2424674"/>
                  </a:cubicBezTo>
                  <a:cubicBezTo>
                    <a:pt x="4906846" y="2367348"/>
                    <a:pt x="4994385" y="2306317"/>
                    <a:pt x="5081677" y="2243548"/>
                  </a:cubicBezTo>
                  <a:cubicBezTo>
                    <a:pt x="5125201" y="2212164"/>
                    <a:pt x="5168603" y="2179969"/>
                    <a:pt x="5211881" y="2147658"/>
                  </a:cubicBezTo>
                  <a:lnTo>
                    <a:pt x="5324985" y="2062128"/>
                  </a:lnTo>
                  <a:lnTo>
                    <a:pt x="5324985" y="2514993"/>
                  </a:lnTo>
                  <a:lnTo>
                    <a:pt x="5314867" y="2522881"/>
                  </a:lnTo>
                  <a:cubicBezTo>
                    <a:pt x="5225490" y="2591325"/>
                    <a:pt x="5133783" y="2658379"/>
                    <a:pt x="5038276" y="2722421"/>
                  </a:cubicBezTo>
                  <a:cubicBezTo>
                    <a:pt x="4942892" y="2786348"/>
                    <a:pt x="4844810" y="2848422"/>
                    <a:pt x="4741701" y="2904937"/>
                  </a:cubicBezTo>
                  <a:cubicBezTo>
                    <a:pt x="4638592" y="2961337"/>
                    <a:pt x="4531929" y="3013683"/>
                    <a:pt x="4420728" y="3058848"/>
                  </a:cubicBezTo>
                  <a:cubicBezTo>
                    <a:pt x="4199063" y="3150338"/>
                    <a:pt x="3959621" y="3211485"/>
                    <a:pt x="3717481" y="3237079"/>
                  </a:cubicBezTo>
                  <a:cubicBezTo>
                    <a:pt x="3656914" y="3243101"/>
                    <a:pt x="3596227" y="3247966"/>
                    <a:pt x="3535661" y="3249934"/>
                  </a:cubicBezTo>
                  <a:lnTo>
                    <a:pt x="3490175" y="3251555"/>
                  </a:lnTo>
                  <a:lnTo>
                    <a:pt x="3444813" y="3251787"/>
                  </a:lnTo>
                  <a:cubicBezTo>
                    <a:pt x="3414162" y="3252250"/>
                    <a:pt x="3385105" y="3251324"/>
                    <a:pt x="3355681" y="3250745"/>
                  </a:cubicBezTo>
                  <a:cubicBezTo>
                    <a:pt x="3296954" y="3250050"/>
                    <a:pt x="3237860" y="3246692"/>
                    <a:pt x="3179011" y="3243795"/>
                  </a:cubicBezTo>
                  <a:cubicBezTo>
                    <a:pt x="3120039" y="3239164"/>
                    <a:pt x="3061067" y="3234878"/>
                    <a:pt x="3002217" y="3227814"/>
                  </a:cubicBezTo>
                  <a:cubicBezTo>
                    <a:pt x="2884397" y="3214496"/>
                    <a:pt x="2766699" y="3196314"/>
                    <a:pt x="2650103" y="3170836"/>
                  </a:cubicBezTo>
                  <a:cubicBezTo>
                    <a:pt x="2533510" y="3145358"/>
                    <a:pt x="2418263" y="3112583"/>
                    <a:pt x="2305836" y="3072514"/>
                  </a:cubicBezTo>
                  <a:cubicBezTo>
                    <a:pt x="2193410" y="3032328"/>
                    <a:pt x="2083926" y="2984383"/>
                    <a:pt x="1978611" y="2929952"/>
                  </a:cubicBezTo>
                  <a:cubicBezTo>
                    <a:pt x="1873663" y="2874711"/>
                    <a:pt x="1772884" y="2812985"/>
                    <a:pt x="1678235" y="2744424"/>
                  </a:cubicBezTo>
                  <a:cubicBezTo>
                    <a:pt x="1488201" y="2608001"/>
                    <a:pt x="1321708" y="2448068"/>
                    <a:pt x="1175688" y="2277018"/>
                  </a:cubicBezTo>
                  <a:cubicBezTo>
                    <a:pt x="1102985" y="2191086"/>
                    <a:pt x="1035309" y="2102377"/>
                    <a:pt x="971310" y="2012044"/>
                  </a:cubicBezTo>
                  <a:cubicBezTo>
                    <a:pt x="907188" y="1921714"/>
                    <a:pt x="847358" y="1829413"/>
                    <a:pt x="790717" y="1735723"/>
                  </a:cubicBezTo>
                  <a:cubicBezTo>
                    <a:pt x="761782" y="1688357"/>
                    <a:pt x="735300" y="1644002"/>
                    <a:pt x="706488" y="1598604"/>
                  </a:cubicBezTo>
                  <a:cubicBezTo>
                    <a:pt x="677922" y="1553555"/>
                    <a:pt x="648866" y="1508505"/>
                    <a:pt x="618951" y="1463802"/>
                  </a:cubicBezTo>
                  <a:lnTo>
                    <a:pt x="436273" y="1195355"/>
                  </a:lnTo>
                  <a:cubicBezTo>
                    <a:pt x="405990" y="1150189"/>
                    <a:pt x="376075" y="1104792"/>
                    <a:pt x="346896" y="1058816"/>
                  </a:cubicBezTo>
                  <a:cubicBezTo>
                    <a:pt x="317716" y="1012838"/>
                    <a:pt x="288782" y="966747"/>
                    <a:pt x="261809" y="919264"/>
                  </a:cubicBezTo>
                  <a:cubicBezTo>
                    <a:pt x="207742" y="824764"/>
                    <a:pt x="158088" y="727485"/>
                    <a:pt x="118487" y="626498"/>
                  </a:cubicBezTo>
                  <a:cubicBezTo>
                    <a:pt x="78151" y="525859"/>
                    <a:pt x="48237" y="421515"/>
                    <a:pt x="28130" y="315781"/>
                  </a:cubicBezTo>
                  <a:cubicBezTo>
                    <a:pt x="18506" y="262914"/>
                    <a:pt x="11425" y="209642"/>
                    <a:pt x="6751" y="15619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F7875715-EC2E-457F-851D-F6C817685FE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16467" y="-1"/>
              <a:ext cx="5275533" cy="2980757"/>
            </a:xfrm>
            <a:custGeom>
              <a:avLst/>
              <a:gdLst>
                <a:gd name="connsiteX0" fmla="*/ 0 w 5275533"/>
                <a:gd name="connsiteY0" fmla="*/ 0 h 2980757"/>
                <a:gd name="connsiteX1" fmla="*/ 201166 w 5275533"/>
                <a:gd name="connsiteY1" fmla="*/ 0 h 2980757"/>
                <a:gd name="connsiteX2" fmla="*/ 206734 w 5275533"/>
                <a:gd name="connsiteY2" fmla="*/ 89286 h 2980757"/>
                <a:gd name="connsiteX3" fmla="*/ 232051 w 5275533"/>
                <a:gd name="connsiteY3" fmla="*/ 226897 h 2980757"/>
                <a:gd name="connsiteX4" fmla="*/ 332707 w 5275533"/>
                <a:gd name="connsiteY4" fmla="*/ 487120 h 2980757"/>
                <a:gd name="connsiteX5" fmla="*/ 402959 w 5275533"/>
                <a:gd name="connsiteY5" fmla="*/ 609647 h 2980757"/>
                <a:gd name="connsiteX6" fmla="*/ 483631 w 5275533"/>
                <a:gd name="connsiteY6" fmla="*/ 728236 h 2980757"/>
                <a:gd name="connsiteX7" fmla="*/ 669986 w 5275533"/>
                <a:gd name="connsiteY7" fmla="*/ 957424 h 2980757"/>
                <a:gd name="connsiteX8" fmla="*/ 871667 w 5275533"/>
                <a:gd name="connsiteY8" fmla="*/ 1188348 h 2980757"/>
                <a:gd name="connsiteX9" fmla="*/ 971956 w 5275533"/>
                <a:gd name="connsiteY9" fmla="*/ 1308905 h 2980757"/>
                <a:gd name="connsiteX10" fmla="*/ 1020139 w 5275533"/>
                <a:gd name="connsiteY10" fmla="*/ 1368084 h 2980757"/>
                <a:gd name="connsiteX11" fmla="*/ 1067340 w 5275533"/>
                <a:gd name="connsiteY11" fmla="*/ 1424715 h 2980757"/>
                <a:gd name="connsiteX12" fmla="*/ 1472909 w 5275533"/>
                <a:gd name="connsiteY12" fmla="*/ 1843252 h 2980757"/>
                <a:gd name="connsiteX13" fmla="*/ 1688567 w 5275533"/>
                <a:gd name="connsiteY13" fmla="*/ 2031559 h 2980757"/>
                <a:gd name="connsiteX14" fmla="*/ 1914401 w 5275533"/>
                <a:gd name="connsiteY14" fmla="*/ 2205156 h 2980757"/>
                <a:gd name="connsiteX15" fmla="*/ 2418909 w 5275533"/>
                <a:gd name="connsiteY15" fmla="*/ 2479741 h 2980757"/>
                <a:gd name="connsiteX16" fmla="*/ 2701141 w 5275533"/>
                <a:gd name="connsiteY16" fmla="*/ 2557333 h 2980757"/>
                <a:gd name="connsiteX17" fmla="*/ 2773475 w 5275533"/>
                <a:gd name="connsiteY17" fmla="*/ 2570999 h 2980757"/>
                <a:gd name="connsiteX18" fmla="*/ 2846424 w 5275533"/>
                <a:gd name="connsiteY18" fmla="*/ 2582465 h 2980757"/>
                <a:gd name="connsiteX19" fmla="*/ 2993669 w 5275533"/>
                <a:gd name="connsiteY19" fmla="*/ 2598909 h 2980757"/>
                <a:gd name="connsiteX20" fmla="*/ 3067721 w 5275533"/>
                <a:gd name="connsiteY20" fmla="*/ 2604237 h 2980757"/>
                <a:gd name="connsiteX21" fmla="*/ 3142019 w 5275533"/>
                <a:gd name="connsiteY21" fmla="*/ 2607943 h 2980757"/>
                <a:gd name="connsiteX22" fmla="*/ 3216561 w 5275533"/>
                <a:gd name="connsiteY22" fmla="*/ 2609564 h 2980757"/>
                <a:gd name="connsiteX23" fmla="*/ 3291225 w 5275533"/>
                <a:gd name="connsiteY23" fmla="*/ 2609217 h 2980757"/>
                <a:gd name="connsiteX24" fmla="*/ 3328619 w 5275533"/>
                <a:gd name="connsiteY24" fmla="*/ 2608869 h 2980757"/>
                <a:gd name="connsiteX25" fmla="*/ 3364665 w 5275533"/>
                <a:gd name="connsiteY25" fmla="*/ 2607363 h 2980757"/>
                <a:gd name="connsiteX26" fmla="*/ 3400587 w 5275533"/>
                <a:gd name="connsiteY26" fmla="*/ 2605627 h 2980757"/>
                <a:gd name="connsiteX27" fmla="*/ 3436387 w 5275533"/>
                <a:gd name="connsiteY27" fmla="*/ 2602847 h 2980757"/>
                <a:gd name="connsiteX28" fmla="*/ 3578361 w 5275533"/>
                <a:gd name="connsiteY28" fmla="*/ 2586286 h 2980757"/>
                <a:gd name="connsiteX29" fmla="*/ 4119159 w 5275533"/>
                <a:gd name="connsiteY29" fmla="*/ 2418594 h 2980757"/>
                <a:gd name="connsiteX30" fmla="*/ 4618765 w 5275533"/>
                <a:gd name="connsiteY30" fmla="*/ 2124668 h 2980757"/>
                <a:gd name="connsiteX31" fmla="*/ 4739895 w 5275533"/>
                <a:gd name="connsiteY31" fmla="*/ 2038275 h 2980757"/>
                <a:gd name="connsiteX32" fmla="*/ 4861027 w 5275533"/>
                <a:gd name="connsiteY32" fmla="*/ 1948986 h 2980757"/>
                <a:gd name="connsiteX33" fmla="*/ 5106354 w 5275533"/>
                <a:gd name="connsiteY33" fmla="*/ 1763690 h 2980757"/>
                <a:gd name="connsiteX34" fmla="*/ 5275533 w 5275533"/>
                <a:gd name="connsiteY34" fmla="*/ 1641017 h 2980757"/>
                <a:gd name="connsiteX35" fmla="*/ 5275533 w 5275533"/>
                <a:gd name="connsiteY35" fmla="*/ 2257481 h 2980757"/>
                <a:gd name="connsiteX36" fmla="*/ 5168881 w 5275533"/>
                <a:gd name="connsiteY36" fmla="*/ 2332084 h 2980757"/>
                <a:gd name="connsiteX37" fmla="*/ 5036225 w 5275533"/>
                <a:gd name="connsiteY37" fmla="*/ 2421489 h 2980757"/>
                <a:gd name="connsiteX38" fmla="*/ 4899401 w 5275533"/>
                <a:gd name="connsiteY38" fmla="*/ 2508347 h 2980757"/>
                <a:gd name="connsiteX39" fmla="*/ 4612145 w 5275533"/>
                <a:gd name="connsiteY39" fmla="*/ 2671407 h 2980757"/>
                <a:gd name="connsiteX40" fmla="*/ 4303187 w 5275533"/>
                <a:gd name="connsiteY40" fmla="*/ 2810030 h 2980757"/>
                <a:gd name="connsiteX41" fmla="*/ 3630835 w 5275533"/>
                <a:gd name="connsiteY41" fmla="*/ 2969500 h 2980757"/>
                <a:gd name="connsiteX42" fmla="*/ 3457719 w 5275533"/>
                <a:gd name="connsiteY42" fmla="*/ 2979808 h 2980757"/>
                <a:gd name="connsiteX43" fmla="*/ 3414441 w 5275533"/>
                <a:gd name="connsiteY43" fmla="*/ 2980733 h 2980757"/>
                <a:gd name="connsiteX44" fmla="*/ 3371285 w 5275533"/>
                <a:gd name="connsiteY44" fmla="*/ 2980502 h 2980757"/>
                <a:gd name="connsiteX45" fmla="*/ 3328252 w 5275533"/>
                <a:gd name="connsiteY45" fmla="*/ 2980039 h 2980757"/>
                <a:gd name="connsiteX46" fmla="*/ 3286445 w 5275533"/>
                <a:gd name="connsiteY46" fmla="*/ 2978534 h 2980757"/>
                <a:gd name="connsiteX47" fmla="*/ 2952475 w 5275533"/>
                <a:gd name="connsiteY47" fmla="*/ 2953402 h 2980757"/>
                <a:gd name="connsiteX48" fmla="*/ 2620591 w 5275533"/>
                <a:gd name="connsiteY48" fmla="*/ 2898046 h 2980757"/>
                <a:gd name="connsiteX49" fmla="*/ 2294591 w 5275533"/>
                <a:gd name="connsiteY49" fmla="*/ 2811305 h 2980757"/>
                <a:gd name="connsiteX50" fmla="*/ 1670544 w 5275533"/>
                <a:gd name="connsiteY50" fmla="*/ 2550501 h 2980757"/>
                <a:gd name="connsiteX51" fmla="*/ 1144703 w 5275533"/>
                <a:gd name="connsiteY51" fmla="*/ 2144472 h 2980757"/>
                <a:gd name="connsiteX52" fmla="*/ 931497 w 5275533"/>
                <a:gd name="connsiteY52" fmla="*/ 1900114 h 2980757"/>
                <a:gd name="connsiteX53" fmla="*/ 745265 w 5275533"/>
                <a:gd name="connsiteY53" fmla="*/ 1641395 h 2980757"/>
                <a:gd name="connsiteX54" fmla="*/ 701741 w 5275533"/>
                <a:gd name="connsiteY54" fmla="*/ 1575500 h 2980757"/>
                <a:gd name="connsiteX55" fmla="*/ 660178 w 5275533"/>
                <a:gd name="connsiteY55" fmla="*/ 1511573 h 2980757"/>
                <a:gd name="connsiteX56" fmla="*/ 578158 w 5275533"/>
                <a:gd name="connsiteY56" fmla="*/ 1387656 h 2980757"/>
                <a:gd name="connsiteX57" fmla="*/ 408230 w 5275533"/>
                <a:gd name="connsiteY57" fmla="*/ 1134497 h 2980757"/>
                <a:gd name="connsiteX58" fmla="*/ 242349 w 5275533"/>
                <a:gd name="connsiteY58" fmla="*/ 866860 h 2980757"/>
                <a:gd name="connsiteX59" fmla="*/ 167562 w 5275533"/>
                <a:gd name="connsiteY59" fmla="*/ 724994 h 2980757"/>
                <a:gd name="connsiteX60" fmla="*/ 104054 w 5275533"/>
                <a:gd name="connsiteY60" fmla="*/ 576525 h 2980757"/>
                <a:gd name="connsiteX61" fmla="*/ 55381 w 5275533"/>
                <a:gd name="connsiteY61" fmla="*/ 422499 h 2980757"/>
                <a:gd name="connsiteX62" fmla="*/ 37236 w 5275533"/>
                <a:gd name="connsiteY62" fmla="*/ 343980 h 2980757"/>
                <a:gd name="connsiteX63" fmla="*/ 29267 w 5275533"/>
                <a:gd name="connsiteY63" fmla="*/ 304604 h 2980757"/>
                <a:gd name="connsiteX64" fmla="*/ 22646 w 5275533"/>
                <a:gd name="connsiteY64" fmla="*/ 265113 h 2980757"/>
                <a:gd name="connsiteX65" fmla="*/ 3903 w 5275533"/>
                <a:gd name="connsiteY65" fmla="*/ 106787 h 29807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275533" h="2980757">
                  <a:moveTo>
                    <a:pt x="0" y="0"/>
                  </a:moveTo>
                  <a:lnTo>
                    <a:pt x="201166" y="0"/>
                  </a:lnTo>
                  <a:lnTo>
                    <a:pt x="206734" y="89286"/>
                  </a:lnTo>
                  <a:cubicBezTo>
                    <a:pt x="212220" y="135755"/>
                    <a:pt x="220465" y="181731"/>
                    <a:pt x="232051" y="226897"/>
                  </a:cubicBezTo>
                  <a:cubicBezTo>
                    <a:pt x="254855" y="317344"/>
                    <a:pt x="290287" y="403854"/>
                    <a:pt x="332707" y="487120"/>
                  </a:cubicBezTo>
                  <a:cubicBezTo>
                    <a:pt x="354163" y="528696"/>
                    <a:pt x="377948" y="569461"/>
                    <a:pt x="402959" y="609647"/>
                  </a:cubicBezTo>
                  <a:cubicBezTo>
                    <a:pt x="428337" y="649717"/>
                    <a:pt x="455433" y="689209"/>
                    <a:pt x="483631" y="728236"/>
                  </a:cubicBezTo>
                  <a:cubicBezTo>
                    <a:pt x="540764" y="806061"/>
                    <a:pt x="604271" y="881569"/>
                    <a:pt x="669986" y="957424"/>
                  </a:cubicBezTo>
                  <a:cubicBezTo>
                    <a:pt x="735701" y="1033395"/>
                    <a:pt x="804359" y="1109366"/>
                    <a:pt x="871667" y="1188348"/>
                  </a:cubicBezTo>
                  <a:cubicBezTo>
                    <a:pt x="905383" y="1227723"/>
                    <a:pt x="938731" y="1268025"/>
                    <a:pt x="971956" y="1308905"/>
                  </a:cubicBezTo>
                  <a:lnTo>
                    <a:pt x="1020139" y="1368084"/>
                  </a:lnTo>
                  <a:cubicBezTo>
                    <a:pt x="1035954" y="1386962"/>
                    <a:pt x="1051035" y="1406302"/>
                    <a:pt x="1067340" y="1424715"/>
                  </a:cubicBezTo>
                  <a:cubicBezTo>
                    <a:pt x="1194602" y="1574573"/>
                    <a:pt x="1332652" y="1712503"/>
                    <a:pt x="1472909" y="1843252"/>
                  </a:cubicBezTo>
                  <a:cubicBezTo>
                    <a:pt x="1543406" y="1908337"/>
                    <a:pt x="1615128" y="1971221"/>
                    <a:pt x="1688567" y="2031559"/>
                  </a:cubicBezTo>
                  <a:cubicBezTo>
                    <a:pt x="1762006" y="2091895"/>
                    <a:pt x="1836793" y="2150263"/>
                    <a:pt x="1914401" y="2205156"/>
                  </a:cubicBezTo>
                  <a:cubicBezTo>
                    <a:pt x="2069003" y="2315176"/>
                    <a:pt x="2235742" y="2413498"/>
                    <a:pt x="2418909" y="2479741"/>
                  </a:cubicBezTo>
                  <a:cubicBezTo>
                    <a:pt x="2510249" y="2512863"/>
                    <a:pt x="2604898" y="2538225"/>
                    <a:pt x="2701141" y="2557333"/>
                  </a:cubicBezTo>
                  <a:cubicBezTo>
                    <a:pt x="2725293" y="2561850"/>
                    <a:pt x="2749201" y="2567062"/>
                    <a:pt x="2773475" y="2570999"/>
                  </a:cubicBezTo>
                  <a:lnTo>
                    <a:pt x="2846424" y="2582465"/>
                  </a:lnTo>
                  <a:cubicBezTo>
                    <a:pt x="2895343" y="2588602"/>
                    <a:pt x="2944261" y="2595088"/>
                    <a:pt x="2993669" y="2598909"/>
                  </a:cubicBezTo>
                  <a:cubicBezTo>
                    <a:pt x="3018313" y="2601110"/>
                    <a:pt x="3042956" y="2603195"/>
                    <a:pt x="3067721" y="2604237"/>
                  </a:cubicBezTo>
                  <a:cubicBezTo>
                    <a:pt x="3092487" y="2605394"/>
                    <a:pt x="3117130" y="2607247"/>
                    <a:pt x="3142019" y="2607943"/>
                  </a:cubicBezTo>
                  <a:lnTo>
                    <a:pt x="3216561" y="2609564"/>
                  </a:lnTo>
                  <a:cubicBezTo>
                    <a:pt x="3241326" y="2610142"/>
                    <a:pt x="3266337" y="2609333"/>
                    <a:pt x="3291225" y="2609217"/>
                  </a:cubicBezTo>
                  <a:lnTo>
                    <a:pt x="3328619" y="2608869"/>
                  </a:lnTo>
                  <a:cubicBezTo>
                    <a:pt x="3340757" y="2608522"/>
                    <a:pt x="3352649" y="2607827"/>
                    <a:pt x="3364665" y="2607363"/>
                  </a:cubicBezTo>
                  <a:cubicBezTo>
                    <a:pt x="3376679" y="2606784"/>
                    <a:pt x="3388695" y="2606438"/>
                    <a:pt x="3400587" y="2605627"/>
                  </a:cubicBezTo>
                  <a:lnTo>
                    <a:pt x="3436387" y="2602847"/>
                  </a:lnTo>
                  <a:cubicBezTo>
                    <a:pt x="3484079" y="2599257"/>
                    <a:pt x="3531404" y="2593235"/>
                    <a:pt x="3578361" y="2586286"/>
                  </a:cubicBezTo>
                  <a:cubicBezTo>
                    <a:pt x="3766310" y="2556871"/>
                    <a:pt x="3947025" y="2499314"/>
                    <a:pt x="4119159" y="2418594"/>
                  </a:cubicBezTo>
                  <a:cubicBezTo>
                    <a:pt x="4291907" y="2338801"/>
                    <a:pt x="4456317" y="2236657"/>
                    <a:pt x="4618765" y="2124668"/>
                  </a:cubicBezTo>
                  <a:cubicBezTo>
                    <a:pt x="4659346" y="2096759"/>
                    <a:pt x="4699682" y="2067575"/>
                    <a:pt x="4739895" y="2038275"/>
                  </a:cubicBezTo>
                  <a:cubicBezTo>
                    <a:pt x="4780355" y="2008976"/>
                    <a:pt x="4820691" y="1979212"/>
                    <a:pt x="4861027" y="1948986"/>
                  </a:cubicBezTo>
                  <a:lnTo>
                    <a:pt x="5106354" y="1763690"/>
                  </a:lnTo>
                  <a:lnTo>
                    <a:pt x="5275533" y="1641017"/>
                  </a:lnTo>
                  <a:lnTo>
                    <a:pt x="5275533" y="2257481"/>
                  </a:lnTo>
                  <a:lnTo>
                    <a:pt x="5168881" y="2332084"/>
                  </a:lnTo>
                  <a:cubicBezTo>
                    <a:pt x="5125235" y="2362079"/>
                    <a:pt x="5081099" y="2391958"/>
                    <a:pt x="5036225" y="2421489"/>
                  </a:cubicBezTo>
                  <a:cubicBezTo>
                    <a:pt x="4991231" y="2450790"/>
                    <a:pt x="4945867" y="2479857"/>
                    <a:pt x="4899401" y="2508347"/>
                  </a:cubicBezTo>
                  <a:cubicBezTo>
                    <a:pt x="4806959" y="2565440"/>
                    <a:pt x="4711574" y="2620798"/>
                    <a:pt x="4612145" y="2671407"/>
                  </a:cubicBezTo>
                  <a:cubicBezTo>
                    <a:pt x="4512836" y="2722247"/>
                    <a:pt x="4410095" y="2769496"/>
                    <a:pt x="4303187" y="2810030"/>
                  </a:cubicBezTo>
                  <a:cubicBezTo>
                    <a:pt x="4090349" y="2892256"/>
                    <a:pt x="3861694" y="2947728"/>
                    <a:pt x="3630835" y="2969500"/>
                  </a:cubicBezTo>
                  <a:cubicBezTo>
                    <a:pt x="3573089" y="2974712"/>
                    <a:pt x="3515343" y="2978649"/>
                    <a:pt x="3457719" y="2979808"/>
                  </a:cubicBezTo>
                  <a:lnTo>
                    <a:pt x="3414441" y="2980733"/>
                  </a:lnTo>
                  <a:cubicBezTo>
                    <a:pt x="3400097" y="2980850"/>
                    <a:pt x="3385630" y="2980502"/>
                    <a:pt x="3371285" y="2980502"/>
                  </a:cubicBezTo>
                  <a:lnTo>
                    <a:pt x="3328252" y="2980039"/>
                  </a:lnTo>
                  <a:lnTo>
                    <a:pt x="3286445" y="2978534"/>
                  </a:lnTo>
                  <a:cubicBezTo>
                    <a:pt x="3175121" y="2975174"/>
                    <a:pt x="3063553" y="2966837"/>
                    <a:pt x="2952475" y="2953402"/>
                  </a:cubicBezTo>
                  <a:cubicBezTo>
                    <a:pt x="2841275" y="2940664"/>
                    <a:pt x="2730319" y="2922365"/>
                    <a:pt x="2620591" y="2898046"/>
                  </a:cubicBezTo>
                  <a:cubicBezTo>
                    <a:pt x="2510984" y="2873494"/>
                    <a:pt x="2402235" y="2844426"/>
                    <a:pt x="2294591" y="2811305"/>
                  </a:cubicBezTo>
                  <a:cubicBezTo>
                    <a:pt x="2079669" y="2744483"/>
                    <a:pt x="1867198" y="2661331"/>
                    <a:pt x="1670544" y="2550501"/>
                  </a:cubicBezTo>
                  <a:cubicBezTo>
                    <a:pt x="1473767" y="2439903"/>
                    <a:pt x="1298079" y="2299657"/>
                    <a:pt x="1144703" y="2144472"/>
                  </a:cubicBezTo>
                  <a:cubicBezTo>
                    <a:pt x="1067586" y="2066996"/>
                    <a:pt x="997458" y="1984539"/>
                    <a:pt x="931497" y="1900114"/>
                  </a:cubicBezTo>
                  <a:cubicBezTo>
                    <a:pt x="865906" y="1815342"/>
                    <a:pt x="803500" y="1729295"/>
                    <a:pt x="745265" y="1641395"/>
                  </a:cubicBezTo>
                  <a:cubicBezTo>
                    <a:pt x="730307" y="1619623"/>
                    <a:pt x="716207" y="1597503"/>
                    <a:pt x="701741" y="1575500"/>
                  </a:cubicBezTo>
                  <a:lnTo>
                    <a:pt x="660178" y="1511573"/>
                  </a:lnTo>
                  <a:cubicBezTo>
                    <a:pt x="633574" y="1470229"/>
                    <a:pt x="605989" y="1429232"/>
                    <a:pt x="578158" y="1387656"/>
                  </a:cubicBezTo>
                  <a:lnTo>
                    <a:pt x="408230" y="1134497"/>
                  </a:lnTo>
                  <a:cubicBezTo>
                    <a:pt x="351220" y="1048219"/>
                    <a:pt x="294945" y="959392"/>
                    <a:pt x="242349" y="866860"/>
                  </a:cubicBezTo>
                  <a:cubicBezTo>
                    <a:pt x="216112" y="820536"/>
                    <a:pt x="190734" y="773402"/>
                    <a:pt x="167562" y="724994"/>
                  </a:cubicBezTo>
                  <a:cubicBezTo>
                    <a:pt x="144513" y="676469"/>
                    <a:pt x="123057" y="627019"/>
                    <a:pt x="104054" y="576525"/>
                  </a:cubicBezTo>
                  <a:cubicBezTo>
                    <a:pt x="85418" y="525917"/>
                    <a:pt x="68867" y="474613"/>
                    <a:pt x="55381" y="422499"/>
                  </a:cubicBezTo>
                  <a:cubicBezTo>
                    <a:pt x="49006" y="396442"/>
                    <a:pt x="42508" y="370269"/>
                    <a:pt x="37236" y="343980"/>
                  </a:cubicBezTo>
                  <a:lnTo>
                    <a:pt x="29267" y="304604"/>
                  </a:lnTo>
                  <a:lnTo>
                    <a:pt x="22646" y="265113"/>
                  </a:lnTo>
                  <a:cubicBezTo>
                    <a:pt x="14003" y="212420"/>
                    <a:pt x="7872" y="159582"/>
                    <a:pt x="3903" y="106787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7E41CC6-0C83-40EE-80BB-79394D9E9B2F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613805 w 5270786"/>
                <a:gd name="connsiteY1" fmla="*/ 0 h 2927775"/>
                <a:gd name="connsiteX2" fmla="*/ 618487 w 5270786"/>
                <a:gd name="connsiteY2" fmla="*/ 85404 h 2927775"/>
                <a:gd name="connsiteX3" fmla="*/ 1054084 w 5270786"/>
                <a:gd name="connsiteY3" fmla="*/ 895200 h 2927775"/>
                <a:gd name="connsiteX4" fmla="*/ 1276976 w 5270786"/>
                <a:gd name="connsiteY4" fmla="*/ 1191325 h 2927775"/>
                <a:gd name="connsiteX5" fmla="*/ 3368450 w 5270786"/>
                <a:gd name="connsiteY5" fmla="*/ 2348843 h 2927775"/>
                <a:gd name="connsiteX6" fmla="*/ 4956151 w 5270786"/>
                <a:gd name="connsiteY6" fmla="*/ 1636730 h 2927775"/>
                <a:gd name="connsiteX7" fmla="*/ 5149372 w 5270786"/>
                <a:gd name="connsiteY7" fmla="*/ 1495325 h 2927775"/>
                <a:gd name="connsiteX8" fmla="*/ 5270786 w 5270786"/>
                <a:gd name="connsiteY8" fmla="*/ 1406110 h 2927775"/>
                <a:gd name="connsiteX9" fmla="*/ 5270786 w 5270786"/>
                <a:gd name="connsiteY9" fmla="*/ 2138641 h 2927775"/>
                <a:gd name="connsiteX10" fmla="*/ 5112925 w 5270786"/>
                <a:gd name="connsiteY10" fmla="*/ 2253730 h 2927775"/>
                <a:gd name="connsiteX11" fmla="*/ 3368327 w 5270786"/>
                <a:gd name="connsiteY11" fmla="*/ 2927775 h 2927775"/>
                <a:gd name="connsiteX12" fmla="*/ 769646 w 5270786"/>
                <a:gd name="connsiteY12" fmla="*/ 1516288 h 2927775"/>
                <a:gd name="connsiteX13" fmla="*/ 3149 w 5270786"/>
                <a:gd name="connsiteY13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613805" y="0"/>
                  </a:lnTo>
                  <a:lnTo>
                    <a:pt x="618487" y="85404"/>
                  </a:lnTo>
                  <a:cubicBezTo>
                    <a:pt x="650052" y="360109"/>
                    <a:pt x="792650" y="556543"/>
                    <a:pt x="1054084" y="895200"/>
                  </a:cubicBezTo>
                  <a:cubicBezTo>
                    <a:pt x="1126174" y="988542"/>
                    <a:pt x="1200716" y="1085128"/>
                    <a:pt x="1276976" y="1191325"/>
                  </a:cubicBezTo>
                  <a:cubicBezTo>
                    <a:pt x="1859704" y="2002688"/>
                    <a:pt x="2485223" y="2348843"/>
                    <a:pt x="3368450" y="2348843"/>
                  </a:cubicBezTo>
                  <a:cubicBezTo>
                    <a:pt x="3948114" y="2348843"/>
                    <a:pt x="4373422" y="2066846"/>
                    <a:pt x="4956151" y="1636730"/>
                  </a:cubicBezTo>
                  <a:cubicBezTo>
                    <a:pt x="5021253" y="1588668"/>
                    <a:pt x="5086356" y="1541186"/>
                    <a:pt x="5149372" y="1495325"/>
                  </a:cubicBezTo>
                  <a:lnTo>
                    <a:pt x="5270786" y="1406110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00603498-5DFE-4D26-BFB5-C9269C9BDB0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921214" y="-1"/>
              <a:ext cx="5270786" cy="2927775"/>
            </a:xfrm>
            <a:custGeom>
              <a:avLst/>
              <a:gdLst>
                <a:gd name="connsiteX0" fmla="*/ 0 w 5270786"/>
                <a:gd name="connsiteY0" fmla="*/ 0 h 2927775"/>
                <a:gd name="connsiteX1" fmla="*/ 736294 w 5270786"/>
                <a:gd name="connsiteY1" fmla="*/ 0 h 2927775"/>
                <a:gd name="connsiteX2" fmla="*/ 740298 w 5270786"/>
                <a:gd name="connsiteY2" fmla="*/ 72745 h 2927775"/>
                <a:gd name="connsiteX3" fmla="*/ 1153024 w 5270786"/>
                <a:gd name="connsiteY3" fmla="*/ 826989 h 2927775"/>
                <a:gd name="connsiteX4" fmla="*/ 1378368 w 5270786"/>
                <a:gd name="connsiteY4" fmla="*/ 1126356 h 2927775"/>
                <a:gd name="connsiteX5" fmla="*/ 2238056 w 5270786"/>
                <a:gd name="connsiteY5" fmla="*/ 1955322 h 2927775"/>
                <a:gd name="connsiteX6" fmla="*/ 3368327 w 5270786"/>
                <a:gd name="connsiteY6" fmla="*/ 2233033 h 2927775"/>
                <a:gd name="connsiteX7" fmla="*/ 4095360 w 5270786"/>
                <a:gd name="connsiteY7" fmla="*/ 2056192 h 2927775"/>
                <a:gd name="connsiteX8" fmla="*/ 4880506 w 5270786"/>
                <a:gd name="connsiteY8" fmla="*/ 1545587 h 2927775"/>
                <a:gd name="connsiteX9" fmla="*/ 5074340 w 5270786"/>
                <a:gd name="connsiteY9" fmla="*/ 1403721 h 2927775"/>
                <a:gd name="connsiteX10" fmla="*/ 5270786 w 5270786"/>
                <a:gd name="connsiteY10" fmla="*/ 1259367 h 2927775"/>
                <a:gd name="connsiteX11" fmla="*/ 5270786 w 5270786"/>
                <a:gd name="connsiteY11" fmla="*/ 2138641 h 2927775"/>
                <a:gd name="connsiteX12" fmla="*/ 5112925 w 5270786"/>
                <a:gd name="connsiteY12" fmla="*/ 2253730 h 2927775"/>
                <a:gd name="connsiteX13" fmla="*/ 3368327 w 5270786"/>
                <a:gd name="connsiteY13" fmla="*/ 2927775 h 2927775"/>
                <a:gd name="connsiteX14" fmla="*/ 769646 w 5270786"/>
                <a:gd name="connsiteY14" fmla="*/ 1516288 h 2927775"/>
                <a:gd name="connsiteX15" fmla="*/ 3149 w 5270786"/>
                <a:gd name="connsiteY15" fmla="*/ 85252 h 29277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70786" h="2927775">
                  <a:moveTo>
                    <a:pt x="0" y="0"/>
                  </a:moveTo>
                  <a:lnTo>
                    <a:pt x="736294" y="0"/>
                  </a:lnTo>
                  <a:lnTo>
                    <a:pt x="740298" y="72745"/>
                  </a:lnTo>
                  <a:cubicBezTo>
                    <a:pt x="768839" y="319371"/>
                    <a:pt x="898885" y="497858"/>
                    <a:pt x="1153024" y="826989"/>
                  </a:cubicBezTo>
                  <a:cubicBezTo>
                    <a:pt x="1225727" y="921142"/>
                    <a:pt x="1300882" y="1018537"/>
                    <a:pt x="1378368" y="1126356"/>
                  </a:cubicBezTo>
                  <a:cubicBezTo>
                    <a:pt x="1652384" y="1507833"/>
                    <a:pt x="1933512" y="1779060"/>
                    <a:pt x="2238056" y="1955322"/>
                  </a:cubicBezTo>
                  <a:cubicBezTo>
                    <a:pt x="2560868" y="2142238"/>
                    <a:pt x="2930637" y="2233033"/>
                    <a:pt x="3368327" y="2233033"/>
                  </a:cubicBezTo>
                  <a:cubicBezTo>
                    <a:pt x="3616720" y="2233033"/>
                    <a:pt x="3847703" y="2176866"/>
                    <a:pt x="4095360" y="2056192"/>
                  </a:cubicBezTo>
                  <a:cubicBezTo>
                    <a:pt x="4349636" y="1932276"/>
                    <a:pt x="4601340" y="1751613"/>
                    <a:pt x="4880506" y="1545587"/>
                  </a:cubicBezTo>
                  <a:cubicBezTo>
                    <a:pt x="4945974" y="1497295"/>
                    <a:pt x="5011199" y="1449697"/>
                    <a:pt x="5074340" y="1403721"/>
                  </a:cubicBezTo>
                  <a:lnTo>
                    <a:pt x="5270786" y="1259367"/>
                  </a:lnTo>
                  <a:lnTo>
                    <a:pt x="5270786" y="2138641"/>
                  </a:lnTo>
                  <a:lnTo>
                    <a:pt x="5112925" y="2253730"/>
                  </a:lnTo>
                  <a:cubicBezTo>
                    <a:pt x="4598179" y="2621786"/>
                    <a:pt x="4074961" y="2927775"/>
                    <a:pt x="3368327" y="2927775"/>
                  </a:cubicBezTo>
                  <a:cubicBezTo>
                    <a:pt x="2170746" y="2927775"/>
                    <a:pt x="1393203" y="2384512"/>
                    <a:pt x="769646" y="1516288"/>
                  </a:cubicBezTo>
                  <a:cubicBezTo>
                    <a:pt x="418850" y="1027932"/>
                    <a:pt x="48120" y="683401"/>
                    <a:pt x="3149" y="85252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" name="Title 4">
            <a:extLst>
              <a:ext uri="{FF2B5EF4-FFF2-40B4-BE49-F238E27FC236}">
                <a16:creationId xmlns:a16="http://schemas.microsoft.com/office/drawing/2014/main" id="{EC0CB6B9-56AE-D112-7CF7-62250169C1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7317" y="213812"/>
            <a:ext cx="6409335" cy="160960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600" kern="1200" dirty="0">
                <a:solidFill>
                  <a:schemeClr val="tx2"/>
                </a:solidFill>
                <a:latin typeface="Amasis MT Pro Black" panose="02040A04050005020304" pitchFamily="18" charset="0"/>
              </a:rPr>
              <a:t>Preparing for Retirement</a:t>
            </a:r>
            <a:br>
              <a:rPr lang="en-US" sz="3600" kern="1200" dirty="0">
                <a:solidFill>
                  <a:schemeClr val="tx2"/>
                </a:solidFill>
                <a:latin typeface="Amasis MT Pro Black" panose="02040A04050005020304" pitchFamily="18" charset="0"/>
              </a:rPr>
            </a:br>
            <a:r>
              <a:rPr lang="en-US" sz="3600" kern="1200" dirty="0">
                <a:solidFill>
                  <a:schemeClr val="tx2"/>
                </a:solidFill>
                <a:latin typeface="Amasis MT Pro Black" panose="02040A04050005020304" pitchFamily="18" charset="0"/>
              </a:rPr>
              <a:t>I have MERCH!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B63ACBA3-DEFD-4C6D-BBA0-64468FA99C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 rot="10800000">
            <a:off x="9058275" y="4146310"/>
            <a:ext cx="3142400" cy="2716805"/>
            <a:chOff x="-305" y="-4155"/>
            <a:chExt cx="2514948" cy="2174333"/>
          </a:xfrm>
          <a:solidFill>
            <a:schemeClr val="bg1">
              <a:alpha val="30000"/>
            </a:schemeClr>
          </a:solidFill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2F7819D-2B89-4D80-A1C3-8B318116BAA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14948" cy="2170178"/>
            </a:xfrm>
            <a:custGeom>
              <a:avLst/>
              <a:gdLst>
                <a:gd name="connsiteX0" fmla="*/ 2466091 w 2514948"/>
                <a:gd name="connsiteY0" fmla="*/ 0 h 2170178"/>
                <a:gd name="connsiteX1" fmla="*/ 2514948 w 2514948"/>
                <a:gd name="connsiteY1" fmla="*/ 0 h 2170178"/>
                <a:gd name="connsiteX2" fmla="*/ 2512286 w 2514948"/>
                <a:gd name="connsiteY2" fmla="*/ 12375 h 2170178"/>
                <a:gd name="connsiteX3" fmla="*/ 2394961 w 2514948"/>
                <a:gd name="connsiteY3" fmla="*/ 368660 h 2170178"/>
                <a:gd name="connsiteX4" fmla="*/ 2289734 w 2514948"/>
                <a:gd name="connsiteY4" fmla="*/ 598078 h 2170178"/>
                <a:gd name="connsiteX5" fmla="*/ 2163747 w 2514948"/>
                <a:gd name="connsiteY5" fmla="*/ 819078 h 2170178"/>
                <a:gd name="connsiteX6" fmla="*/ 1852241 w 2514948"/>
                <a:gd name="connsiteY6" fmla="*/ 1228932 h 2170178"/>
                <a:gd name="connsiteX7" fmla="*/ 1668235 w 2514948"/>
                <a:gd name="connsiteY7" fmla="*/ 1413844 h 2170178"/>
                <a:gd name="connsiteX8" fmla="*/ 1619510 w 2514948"/>
                <a:gd name="connsiteY8" fmla="*/ 1457722 h 2170178"/>
                <a:gd name="connsiteX9" fmla="*/ 1569835 w 2514948"/>
                <a:gd name="connsiteY9" fmla="*/ 1500704 h 2170178"/>
                <a:gd name="connsiteX10" fmla="*/ 1467169 w 2514948"/>
                <a:gd name="connsiteY10" fmla="*/ 1583266 h 2170178"/>
                <a:gd name="connsiteX11" fmla="*/ 1018393 w 2514948"/>
                <a:gd name="connsiteY11" fmla="*/ 1867576 h 2170178"/>
                <a:gd name="connsiteX12" fmla="*/ 255857 w 2514948"/>
                <a:gd name="connsiteY12" fmla="*/ 2133049 h 2170178"/>
                <a:gd name="connsiteX13" fmla="*/ 0 w 2514948"/>
                <a:gd name="connsiteY13" fmla="*/ 2170178 h 2170178"/>
                <a:gd name="connsiteX14" fmla="*/ 0 w 2514948"/>
                <a:gd name="connsiteY14" fmla="*/ 1940056 h 2170178"/>
                <a:gd name="connsiteX15" fmla="*/ 201609 w 2514948"/>
                <a:gd name="connsiteY15" fmla="*/ 1902856 h 2170178"/>
                <a:gd name="connsiteX16" fmla="*/ 440974 w 2514948"/>
                <a:gd name="connsiteY16" fmla="*/ 1838472 h 2170178"/>
                <a:gd name="connsiteX17" fmla="*/ 674558 w 2514948"/>
                <a:gd name="connsiteY17" fmla="*/ 1756359 h 2170178"/>
                <a:gd name="connsiteX18" fmla="*/ 901222 w 2514948"/>
                <a:gd name="connsiteY18" fmla="*/ 1657142 h 2170178"/>
                <a:gd name="connsiteX19" fmla="*/ 1330943 w 2514948"/>
                <a:gd name="connsiteY19" fmla="*/ 1413396 h 2170178"/>
                <a:gd name="connsiteX20" fmla="*/ 1432566 w 2514948"/>
                <a:gd name="connsiteY20" fmla="*/ 1343193 h 2170178"/>
                <a:gd name="connsiteX21" fmla="*/ 1482527 w 2514948"/>
                <a:gd name="connsiteY21" fmla="*/ 1306926 h 2170178"/>
                <a:gd name="connsiteX22" fmla="*/ 1531821 w 2514948"/>
                <a:gd name="connsiteY22" fmla="*/ 1269765 h 2170178"/>
                <a:gd name="connsiteX23" fmla="*/ 1721986 w 2514948"/>
                <a:gd name="connsiteY23" fmla="*/ 1112073 h 2170178"/>
                <a:gd name="connsiteX24" fmla="*/ 2061460 w 2514948"/>
                <a:gd name="connsiteY24" fmla="*/ 754336 h 2170178"/>
                <a:gd name="connsiteX25" fmla="*/ 2206218 w 2514948"/>
                <a:gd name="connsiteY25" fmla="*/ 554827 h 2170178"/>
                <a:gd name="connsiteX26" fmla="*/ 2329455 w 2514948"/>
                <a:gd name="connsiteY26" fmla="*/ 341886 h 2170178"/>
                <a:gd name="connsiteX27" fmla="*/ 2356757 w 2514948"/>
                <a:gd name="connsiteY27" fmla="*/ 286815 h 2170178"/>
                <a:gd name="connsiteX28" fmla="*/ 2370030 w 2514948"/>
                <a:gd name="connsiteY28" fmla="*/ 259056 h 2170178"/>
                <a:gd name="connsiteX29" fmla="*/ 2382637 w 2514948"/>
                <a:gd name="connsiteY29" fmla="*/ 231028 h 2170178"/>
                <a:gd name="connsiteX30" fmla="*/ 2406716 w 2514948"/>
                <a:gd name="connsiteY30" fmla="*/ 174525 h 2170178"/>
                <a:gd name="connsiteX31" fmla="*/ 2429278 w 2514948"/>
                <a:gd name="connsiteY31" fmla="*/ 117393 h 2170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2514948" h="2170178">
                  <a:moveTo>
                    <a:pt x="2466091" y="0"/>
                  </a:moveTo>
                  <a:lnTo>
                    <a:pt x="2514948" y="0"/>
                  </a:lnTo>
                  <a:lnTo>
                    <a:pt x="2512286" y="12375"/>
                  </a:lnTo>
                  <a:cubicBezTo>
                    <a:pt x="2481760" y="133161"/>
                    <a:pt x="2442526" y="252239"/>
                    <a:pt x="2394961" y="368660"/>
                  </a:cubicBezTo>
                  <a:cubicBezTo>
                    <a:pt x="2363109" y="446208"/>
                    <a:pt x="2328603" y="523039"/>
                    <a:pt x="2289734" y="598078"/>
                  </a:cubicBezTo>
                  <a:cubicBezTo>
                    <a:pt x="2251436" y="673387"/>
                    <a:pt x="2209251" y="747083"/>
                    <a:pt x="2163747" y="819078"/>
                  </a:cubicBezTo>
                  <a:cubicBezTo>
                    <a:pt x="2072646" y="962979"/>
                    <a:pt x="1968652" y="1100611"/>
                    <a:pt x="1852241" y="1228932"/>
                  </a:cubicBezTo>
                  <a:cubicBezTo>
                    <a:pt x="1793748" y="1292868"/>
                    <a:pt x="1732698" y="1354923"/>
                    <a:pt x="1668235" y="1413844"/>
                  </a:cubicBezTo>
                  <a:cubicBezTo>
                    <a:pt x="1652214" y="1428709"/>
                    <a:pt x="1636100" y="1443395"/>
                    <a:pt x="1619510" y="1457722"/>
                  </a:cubicBezTo>
                  <a:cubicBezTo>
                    <a:pt x="1603015" y="1472140"/>
                    <a:pt x="1586805" y="1486825"/>
                    <a:pt x="1569835" y="1500704"/>
                  </a:cubicBezTo>
                  <a:cubicBezTo>
                    <a:pt x="1536276" y="1528911"/>
                    <a:pt x="1501865" y="1556223"/>
                    <a:pt x="1467169" y="1583266"/>
                  </a:cubicBezTo>
                  <a:cubicBezTo>
                    <a:pt x="1327719" y="1690722"/>
                    <a:pt x="1177085" y="1785910"/>
                    <a:pt x="1018393" y="1867576"/>
                  </a:cubicBezTo>
                  <a:cubicBezTo>
                    <a:pt x="780425" y="1990142"/>
                    <a:pt x="522567" y="2080875"/>
                    <a:pt x="255857" y="2133049"/>
                  </a:cubicBezTo>
                  <a:lnTo>
                    <a:pt x="0" y="2170178"/>
                  </a:lnTo>
                  <a:lnTo>
                    <a:pt x="0" y="1940056"/>
                  </a:lnTo>
                  <a:lnTo>
                    <a:pt x="201609" y="1902856"/>
                  </a:lnTo>
                  <a:cubicBezTo>
                    <a:pt x="282186" y="1884231"/>
                    <a:pt x="362102" y="1863008"/>
                    <a:pt x="440974" y="1838472"/>
                  </a:cubicBezTo>
                  <a:cubicBezTo>
                    <a:pt x="519848" y="1814027"/>
                    <a:pt x="597771" y="1786627"/>
                    <a:pt x="674558" y="1756359"/>
                  </a:cubicBezTo>
                  <a:cubicBezTo>
                    <a:pt x="751250" y="1726003"/>
                    <a:pt x="826900" y="1692870"/>
                    <a:pt x="901222" y="1657142"/>
                  </a:cubicBezTo>
                  <a:cubicBezTo>
                    <a:pt x="1049865" y="1585774"/>
                    <a:pt x="1193581" y="1504376"/>
                    <a:pt x="1330943" y="1413396"/>
                  </a:cubicBezTo>
                  <a:cubicBezTo>
                    <a:pt x="1365165" y="1390563"/>
                    <a:pt x="1399293" y="1367370"/>
                    <a:pt x="1432566" y="1343193"/>
                  </a:cubicBezTo>
                  <a:cubicBezTo>
                    <a:pt x="1449441" y="1331373"/>
                    <a:pt x="1465936" y="1319104"/>
                    <a:pt x="1482527" y="1306926"/>
                  </a:cubicBezTo>
                  <a:cubicBezTo>
                    <a:pt x="1499210" y="1294837"/>
                    <a:pt x="1515611" y="1282391"/>
                    <a:pt x="1531821" y="1269765"/>
                  </a:cubicBezTo>
                  <a:cubicBezTo>
                    <a:pt x="1596947" y="1219350"/>
                    <a:pt x="1660652" y="1167055"/>
                    <a:pt x="1721986" y="1112073"/>
                  </a:cubicBezTo>
                  <a:cubicBezTo>
                    <a:pt x="1844940" y="1002469"/>
                    <a:pt x="1958983" y="882926"/>
                    <a:pt x="2061460" y="754336"/>
                  </a:cubicBezTo>
                  <a:cubicBezTo>
                    <a:pt x="2112652" y="690042"/>
                    <a:pt x="2161094" y="623510"/>
                    <a:pt x="2206218" y="554827"/>
                  </a:cubicBezTo>
                  <a:cubicBezTo>
                    <a:pt x="2250583" y="485787"/>
                    <a:pt x="2292484" y="415046"/>
                    <a:pt x="2329455" y="341886"/>
                  </a:cubicBezTo>
                  <a:cubicBezTo>
                    <a:pt x="2339030" y="323709"/>
                    <a:pt x="2347941" y="305261"/>
                    <a:pt x="2356757" y="286815"/>
                  </a:cubicBezTo>
                  <a:lnTo>
                    <a:pt x="2370030" y="259056"/>
                  </a:lnTo>
                  <a:lnTo>
                    <a:pt x="2382637" y="231028"/>
                  </a:lnTo>
                  <a:cubicBezTo>
                    <a:pt x="2390885" y="212312"/>
                    <a:pt x="2399227" y="193598"/>
                    <a:pt x="2406716" y="174525"/>
                  </a:cubicBezTo>
                  <a:cubicBezTo>
                    <a:pt x="2414206" y="155452"/>
                    <a:pt x="2422453" y="136646"/>
                    <a:pt x="2429278" y="11739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7065990-2350-41B3-858B-20EF8744F26C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-4155"/>
              <a:ext cx="2493062" cy="1947896"/>
            </a:xfrm>
            <a:custGeom>
              <a:avLst/>
              <a:gdLst>
                <a:gd name="connsiteX0" fmla="*/ 1896911 w 2493062"/>
                <a:gd name="connsiteY0" fmla="*/ 0 h 1947896"/>
                <a:gd name="connsiteX1" fmla="*/ 2493062 w 2493062"/>
                <a:gd name="connsiteY1" fmla="*/ 0 h 1947896"/>
                <a:gd name="connsiteX2" fmla="*/ 2435315 w 2493062"/>
                <a:gd name="connsiteY2" fmla="*/ 178165 h 1947896"/>
                <a:gd name="connsiteX3" fmla="*/ 93066 w 2493062"/>
                <a:gd name="connsiteY3" fmla="*/ 1935859 h 1947896"/>
                <a:gd name="connsiteX4" fmla="*/ 0 w 2493062"/>
                <a:gd name="connsiteY4" fmla="*/ 1947896 h 1947896"/>
                <a:gd name="connsiteX5" fmla="*/ 0 w 2493062"/>
                <a:gd name="connsiteY5" fmla="*/ 1404756 h 1947896"/>
                <a:gd name="connsiteX6" fmla="*/ 17392 w 2493062"/>
                <a:gd name="connsiteY6" fmla="*/ 1402364 h 1947896"/>
                <a:gd name="connsiteX7" fmla="*/ 464249 w 2493062"/>
                <a:gd name="connsiteY7" fmla="*/ 1281208 h 1947896"/>
                <a:gd name="connsiteX8" fmla="*/ 1260556 w 2493062"/>
                <a:gd name="connsiteY8" fmla="*/ 833835 h 1947896"/>
                <a:gd name="connsiteX9" fmla="*/ 1807924 w 2493062"/>
                <a:gd name="connsiteY9" fmla="*/ 193222 h 1947896"/>
                <a:gd name="connsiteX10" fmla="*/ 1874357 w 2493062"/>
                <a:gd name="connsiteY10" fmla="*/ 58333 h 194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3062" h="1947896">
                  <a:moveTo>
                    <a:pt x="1896911" y="0"/>
                  </a:moveTo>
                  <a:lnTo>
                    <a:pt x="2493062" y="0"/>
                  </a:lnTo>
                  <a:lnTo>
                    <a:pt x="2435315" y="178165"/>
                  </a:lnTo>
                  <a:cubicBezTo>
                    <a:pt x="2088122" y="1071812"/>
                    <a:pt x="1129732" y="1758033"/>
                    <a:pt x="93066" y="1935859"/>
                  </a:cubicBezTo>
                  <a:lnTo>
                    <a:pt x="0" y="1947896"/>
                  </a:lnTo>
                  <a:lnTo>
                    <a:pt x="0" y="1404756"/>
                  </a:lnTo>
                  <a:lnTo>
                    <a:pt x="17392" y="1402364"/>
                  </a:lnTo>
                  <a:cubicBezTo>
                    <a:pt x="167719" y="1375030"/>
                    <a:pt x="318070" y="1334398"/>
                    <a:pt x="464249" y="1281208"/>
                  </a:cubicBezTo>
                  <a:cubicBezTo>
                    <a:pt x="753480" y="1176081"/>
                    <a:pt x="1028869" y="1021346"/>
                    <a:pt x="1260556" y="833835"/>
                  </a:cubicBezTo>
                  <a:cubicBezTo>
                    <a:pt x="1491960" y="646594"/>
                    <a:pt x="1681177" y="425056"/>
                    <a:pt x="1807924" y="193222"/>
                  </a:cubicBezTo>
                  <a:cubicBezTo>
                    <a:pt x="1832328" y="148578"/>
                    <a:pt x="1854477" y="103599"/>
                    <a:pt x="1874357" y="58333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8DA7EC7-CAA0-4665-AA29-BFBA806ECAB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-305" y="0"/>
              <a:ext cx="2501089" cy="1972702"/>
            </a:xfrm>
            <a:custGeom>
              <a:avLst/>
              <a:gdLst>
                <a:gd name="connsiteX0" fmla="*/ 2318728 w 2501089"/>
                <a:gd name="connsiteY0" fmla="*/ 0 h 1972702"/>
                <a:gd name="connsiteX1" fmla="*/ 2501089 w 2501089"/>
                <a:gd name="connsiteY1" fmla="*/ 0 h 1972702"/>
                <a:gd name="connsiteX2" fmla="*/ 2453909 w 2501089"/>
                <a:gd name="connsiteY2" fmla="*/ 167837 h 1972702"/>
                <a:gd name="connsiteX3" fmla="*/ 2361125 w 2501089"/>
                <a:gd name="connsiteY3" fmla="*/ 392084 h 1972702"/>
                <a:gd name="connsiteX4" fmla="*/ 1768255 w 2501089"/>
                <a:gd name="connsiteY4" fmla="*/ 1167644 h 1972702"/>
                <a:gd name="connsiteX5" fmla="*/ 1375125 w 2501089"/>
                <a:gd name="connsiteY5" fmla="*/ 1471474 h 1972702"/>
                <a:gd name="connsiteX6" fmla="*/ 935735 w 2501089"/>
                <a:gd name="connsiteY6" fmla="*/ 1712713 h 1972702"/>
                <a:gd name="connsiteX7" fmla="*/ 212353 w 2501089"/>
                <a:gd name="connsiteY7" fmla="*/ 1940294 h 1972702"/>
                <a:gd name="connsiteX8" fmla="*/ 0 w 2501089"/>
                <a:gd name="connsiteY8" fmla="*/ 1972702 h 1972702"/>
                <a:gd name="connsiteX9" fmla="*/ 0 w 2501089"/>
                <a:gd name="connsiteY9" fmla="*/ 1732181 h 1972702"/>
                <a:gd name="connsiteX10" fmla="*/ 161195 w 2501089"/>
                <a:gd name="connsiteY10" fmla="*/ 1706590 h 1972702"/>
                <a:gd name="connsiteX11" fmla="*/ 388463 w 2501089"/>
                <a:gd name="connsiteY11" fmla="*/ 1652268 h 1972702"/>
                <a:gd name="connsiteX12" fmla="*/ 826716 w 2501089"/>
                <a:gd name="connsiteY12" fmla="*/ 1493950 h 1972702"/>
                <a:gd name="connsiteX13" fmla="*/ 1609847 w 2501089"/>
                <a:gd name="connsiteY13" fmla="*/ 1007535 h 1972702"/>
                <a:gd name="connsiteX14" fmla="*/ 1929982 w 2501089"/>
                <a:gd name="connsiteY14" fmla="*/ 682930 h 1972702"/>
                <a:gd name="connsiteX15" fmla="*/ 2183093 w 2501089"/>
                <a:gd name="connsiteY15" fmla="*/ 310149 h 1972702"/>
                <a:gd name="connsiteX16" fmla="*/ 2280286 w 2501089"/>
                <a:gd name="connsiteY16" fmla="*/ 108435 h 19727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501089" h="1972702">
                  <a:moveTo>
                    <a:pt x="2318728" y="0"/>
                  </a:moveTo>
                  <a:lnTo>
                    <a:pt x="2501089" y="0"/>
                  </a:lnTo>
                  <a:lnTo>
                    <a:pt x="2453909" y="167837"/>
                  </a:lnTo>
                  <a:cubicBezTo>
                    <a:pt x="2427555" y="244153"/>
                    <a:pt x="2396627" y="319103"/>
                    <a:pt x="2361125" y="392084"/>
                  </a:cubicBezTo>
                  <a:cubicBezTo>
                    <a:pt x="2218453" y="684005"/>
                    <a:pt x="2011698" y="945211"/>
                    <a:pt x="1768255" y="1167644"/>
                  </a:cubicBezTo>
                  <a:cubicBezTo>
                    <a:pt x="1646250" y="1278860"/>
                    <a:pt x="1514385" y="1380316"/>
                    <a:pt x="1375125" y="1471474"/>
                  </a:cubicBezTo>
                  <a:cubicBezTo>
                    <a:pt x="1235677" y="1562542"/>
                    <a:pt x="1088928" y="1643672"/>
                    <a:pt x="935735" y="1712713"/>
                  </a:cubicBezTo>
                  <a:cubicBezTo>
                    <a:pt x="705659" y="1815533"/>
                    <a:pt x="462359" y="1892212"/>
                    <a:pt x="212353" y="1940294"/>
                  </a:cubicBezTo>
                  <a:lnTo>
                    <a:pt x="0" y="1972702"/>
                  </a:lnTo>
                  <a:lnTo>
                    <a:pt x="0" y="1732181"/>
                  </a:lnTo>
                  <a:lnTo>
                    <a:pt x="161195" y="1706590"/>
                  </a:lnTo>
                  <a:cubicBezTo>
                    <a:pt x="237638" y="1691378"/>
                    <a:pt x="313477" y="1673222"/>
                    <a:pt x="388463" y="1652268"/>
                  </a:cubicBezTo>
                  <a:cubicBezTo>
                    <a:pt x="538529" y="1610539"/>
                    <a:pt x="684898" y="1556543"/>
                    <a:pt x="826716" y="1493950"/>
                  </a:cubicBezTo>
                  <a:cubicBezTo>
                    <a:pt x="1111207" y="1370107"/>
                    <a:pt x="1376832" y="1205881"/>
                    <a:pt x="1609847" y="1007535"/>
                  </a:cubicBezTo>
                  <a:cubicBezTo>
                    <a:pt x="1725975" y="908049"/>
                    <a:pt x="1833571" y="799519"/>
                    <a:pt x="1929982" y="682930"/>
                  </a:cubicBezTo>
                  <a:cubicBezTo>
                    <a:pt x="2026581" y="566520"/>
                    <a:pt x="2111806" y="441692"/>
                    <a:pt x="2183093" y="310149"/>
                  </a:cubicBezTo>
                  <a:cubicBezTo>
                    <a:pt x="2218738" y="244422"/>
                    <a:pt x="2251396" y="177150"/>
                    <a:pt x="2280286" y="10843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B1132A14-489F-4CED-B626-2A1711C987C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05" y="1"/>
              <a:ext cx="2491105" cy="1943661"/>
            </a:xfrm>
            <a:custGeom>
              <a:avLst/>
              <a:gdLst>
                <a:gd name="connsiteX0" fmla="*/ 1995408 w 2491105"/>
                <a:gd name="connsiteY0" fmla="*/ 0 h 1943661"/>
                <a:gd name="connsiteX1" fmla="*/ 2491105 w 2491105"/>
                <a:gd name="connsiteY1" fmla="*/ 0 h 1943661"/>
                <a:gd name="connsiteX2" fmla="*/ 2434705 w 2491105"/>
                <a:gd name="connsiteY2" fmla="*/ 174009 h 1943661"/>
                <a:gd name="connsiteX3" fmla="*/ 92457 w 2491105"/>
                <a:gd name="connsiteY3" fmla="*/ 1931703 h 1943661"/>
                <a:gd name="connsiteX4" fmla="*/ 0 w 2491105"/>
                <a:gd name="connsiteY4" fmla="*/ 1943661 h 1943661"/>
                <a:gd name="connsiteX5" fmla="*/ 0 w 2491105"/>
                <a:gd name="connsiteY5" fmla="*/ 1491489 h 1943661"/>
                <a:gd name="connsiteX6" fmla="*/ 34107 w 2491105"/>
                <a:gd name="connsiteY6" fmla="*/ 1486836 h 1943661"/>
                <a:gd name="connsiteX7" fmla="*/ 497577 w 2491105"/>
                <a:gd name="connsiteY7" fmla="*/ 1360598 h 1943661"/>
                <a:gd name="connsiteX8" fmla="*/ 1321566 w 2491105"/>
                <a:gd name="connsiteY8" fmla="*/ 897645 h 1943661"/>
                <a:gd name="connsiteX9" fmla="*/ 1891495 w 2491105"/>
                <a:gd name="connsiteY9" fmla="*/ 230078 h 1943661"/>
                <a:gd name="connsiteX10" fmla="*/ 1961469 w 2491105"/>
                <a:gd name="connsiteY10" fmla="*/ 87885 h 19436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491105" h="1943661">
                  <a:moveTo>
                    <a:pt x="1995408" y="0"/>
                  </a:moveTo>
                  <a:lnTo>
                    <a:pt x="2491105" y="0"/>
                  </a:lnTo>
                  <a:lnTo>
                    <a:pt x="2434705" y="174009"/>
                  </a:lnTo>
                  <a:cubicBezTo>
                    <a:pt x="2087512" y="1067655"/>
                    <a:pt x="1129122" y="1753877"/>
                    <a:pt x="92457" y="1931703"/>
                  </a:cubicBezTo>
                  <a:lnTo>
                    <a:pt x="0" y="1943661"/>
                  </a:lnTo>
                  <a:lnTo>
                    <a:pt x="0" y="1491489"/>
                  </a:lnTo>
                  <a:lnTo>
                    <a:pt x="34107" y="1486836"/>
                  </a:lnTo>
                  <a:cubicBezTo>
                    <a:pt x="189055" y="1458696"/>
                    <a:pt x="343908" y="1416565"/>
                    <a:pt x="497577" y="1360598"/>
                  </a:cubicBezTo>
                  <a:cubicBezTo>
                    <a:pt x="796856" y="1251889"/>
                    <a:pt x="1081725" y="1091781"/>
                    <a:pt x="1321566" y="897645"/>
                  </a:cubicBezTo>
                  <a:cubicBezTo>
                    <a:pt x="1565577" y="700195"/>
                    <a:pt x="1757355" y="475523"/>
                    <a:pt x="1891495" y="230078"/>
                  </a:cubicBezTo>
                  <a:cubicBezTo>
                    <a:pt x="1917197" y="183033"/>
                    <a:pt x="1940526" y="135619"/>
                    <a:pt x="1961469" y="87885"/>
                  </a:cubicBez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66C7315C-B706-6E80-DACB-7F62DC0C4E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76294" y="5911535"/>
            <a:ext cx="410522" cy="488936"/>
          </a:xfrm>
          <a:prstGeom prst="rect">
            <a:avLst/>
          </a:prstGeom>
        </p:spPr>
      </p:pic>
      <p:pic>
        <p:nvPicPr>
          <p:cNvPr id="9" name="Picture 8" descr="A lime green shirt on a mannequin">
            <a:extLst>
              <a:ext uri="{FF2B5EF4-FFF2-40B4-BE49-F238E27FC236}">
                <a16:creationId xmlns:a16="http://schemas.microsoft.com/office/drawing/2014/main" id="{0ABEF2FD-83E5-B07A-DB84-E8256D2C7C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40352" y="2324746"/>
            <a:ext cx="3504687" cy="42196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60B0CC5-DF83-D6C0-877E-224B524C27BB}"/>
              </a:ext>
            </a:extLst>
          </p:cNvPr>
          <p:cNvSpPr txBox="1"/>
          <p:nvPr/>
        </p:nvSpPr>
        <p:spPr>
          <a:xfrm>
            <a:off x="1022555" y="3756992"/>
            <a:ext cx="17106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Amasis MT Pro Black" panose="020F0502020204030204" pitchFamily="18" charset="0"/>
              </a:rPr>
              <a:t>I survived DMA ‘24                                </a:t>
            </a:r>
          </a:p>
          <a:p>
            <a:r>
              <a:rPr lang="en-GB" sz="1200" dirty="0">
                <a:latin typeface="Amasis MT Pro Black" panose="020F0502020204030204" pitchFamily="18" charset="0"/>
              </a:rPr>
              <a:t>With the help of a good G&amp;T</a:t>
            </a:r>
          </a:p>
        </p:txBody>
      </p:sp>
      <p:pic>
        <p:nvPicPr>
          <p:cNvPr id="13" name="Picture 12" descr="A red book with butterflies on it">
            <a:extLst>
              <a:ext uri="{FF2B5EF4-FFF2-40B4-BE49-F238E27FC236}">
                <a16:creationId xmlns:a16="http://schemas.microsoft.com/office/drawing/2014/main" id="{5AFD39D6-3711-BFC9-9C4B-907AC06D14C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6"/>
              </a:ext>
            </a:extLst>
          </a:blip>
          <a:stretch>
            <a:fillRect/>
          </a:stretch>
        </p:blipFill>
        <p:spPr>
          <a:xfrm>
            <a:off x="7475138" y="350661"/>
            <a:ext cx="4025206" cy="373538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A8EB204-3A12-FD04-4FE3-5FA0F52140B3}"/>
              </a:ext>
            </a:extLst>
          </p:cNvPr>
          <p:cNvSpPr txBox="1"/>
          <p:nvPr/>
        </p:nvSpPr>
        <p:spPr>
          <a:xfrm rot="20278637">
            <a:off x="9278414" y="2503967"/>
            <a:ext cx="1328550" cy="600534"/>
          </a:xfrm>
          <a:prstGeom prst="rect">
            <a:avLst/>
          </a:prstGeom>
          <a:noFill/>
          <a:ln>
            <a:noFill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Dreaming Outloud Script Pro" panose="020F0502020204030204" pitchFamily="66" charset="0"/>
                <a:cs typeface="Dreaming Outloud Script Pro" panose="020F0502020204030204" pitchFamily="66" charset="0"/>
              </a:rPr>
              <a:t>Finding it after DMA</a:t>
            </a:r>
          </a:p>
        </p:txBody>
      </p:sp>
      <p:pic>
        <p:nvPicPr>
          <p:cNvPr id="33" name="Picture 32" descr="Robot operating a machine">
            <a:extLst>
              <a:ext uri="{FF2B5EF4-FFF2-40B4-BE49-F238E27FC236}">
                <a16:creationId xmlns:a16="http://schemas.microsoft.com/office/drawing/2014/main" id="{1F484C53-CFFF-EAA2-425F-189F3A9BB5A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34314" y="3867150"/>
            <a:ext cx="5062036" cy="2813885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D32EB76D-803F-5766-A21F-F8906C6F361D}"/>
              </a:ext>
            </a:extLst>
          </p:cNvPr>
          <p:cNvSpPr txBox="1"/>
          <p:nvPr/>
        </p:nvSpPr>
        <p:spPr>
          <a:xfrm>
            <a:off x="2777622" y="2416129"/>
            <a:ext cx="7715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£15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133C052-A128-B85B-68B4-970384BB1A2A}"/>
              </a:ext>
            </a:extLst>
          </p:cNvPr>
          <p:cNvSpPr txBox="1"/>
          <p:nvPr/>
        </p:nvSpPr>
        <p:spPr>
          <a:xfrm>
            <a:off x="7768229" y="1078106"/>
            <a:ext cx="68843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£20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4E929A0C-B664-0BF0-6138-A6486441FBD2}"/>
              </a:ext>
            </a:extLst>
          </p:cNvPr>
          <p:cNvSpPr txBox="1"/>
          <p:nvPr/>
        </p:nvSpPr>
        <p:spPr>
          <a:xfrm>
            <a:off x="4188374" y="5295900"/>
            <a:ext cx="328676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i="1" dirty="0">
                <a:solidFill>
                  <a:schemeClr val="bg1"/>
                </a:solidFill>
              </a:rPr>
              <a:t>Digital helps make the </a:t>
            </a:r>
          </a:p>
          <a:p>
            <a:r>
              <a:rPr lang="en-GB" sz="2000" b="1" i="1" dirty="0">
                <a:solidFill>
                  <a:schemeClr val="bg1"/>
                </a:solidFill>
              </a:rPr>
              <a:t>Magic Happen…. Find your inner Houdini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7BEB4AC-B21D-E5A7-1450-817940D332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476688" y="5007003"/>
            <a:ext cx="1511115" cy="87815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EC5731B-91F5-94FF-E0BB-445626C3D846}"/>
              </a:ext>
            </a:extLst>
          </p:cNvPr>
          <p:cNvSpPr txBox="1"/>
          <p:nvPr/>
        </p:nvSpPr>
        <p:spPr>
          <a:xfrm>
            <a:off x="9185624" y="5625489"/>
            <a:ext cx="7785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/>
              <a:t>£10</a:t>
            </a:r>
          </a:p>
        </p:txBody>
      </p:sp>
    </p:spTree>
    <p:extLst>
      <p:ext uri="{BB962C8B-B14F-4D97-AF65-F5344CB8AC3E}">
        <p14:creationId xmlns:p14="http://schemas.microsoft.com/office/powerpoint/2010/main" val="1333251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532358C74A89A419650AD017E1FAC40" ma:contentTypeVersion="21" ma:contentTypeDescription="Create a new document." ma:contentTypeScope="" ma:versionID="dd6c4204f5074b5410a9afb8b5a8e5b9">
  <xsd:schema xmlns:xsd="http://www.w3.org/2001/XMLSchema" xmlns:xs="http://www.w3.org/2001/XMLSchema" xmlns:p="http://schemas.microsoft.com/office/2006/metadata/properties" xmlns:ns1="http://schemas.microsoft.com/sharepoint/v3" xmlns:ns2="e37e8048-7f47-46c3-9f5d-bf2bf54c9279" xmlns:ns3="812061dd-523a-47bf-9db5-a71fd49c94a4" targetNamespace="http://schemas.microsoft.com/office/2006/metadata/properties" ma:root="true" ma:fieldsID="d891b9df4695bf4b034ff6e5d348055e" ns1:_="" ns2:_="" ns3:_="">
    <xsd:import namespace="http://schemas.microsoft.com/sharepoint/v3"/>
    <xsd:import namespace="e37e8048-7f47-46c3-9f5d-bf2bf54c9279"/>
    <xsd:import namespace="812061dd-523a-47bf-9db5-a71fd49c94a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Picture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6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7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7e8048-7f47-46c3-9f5d-bf2bf54c92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Picture" ma:index="21" nillable="true" ma:displayName="Picture" ma:format="Image" ma:internalName="Pictur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fe36c5f2-2d8c-4cc3-a61b-4b56d022d32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2061dd-523a-47bf-9db5-a71fd49c94a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98d9916-7899-4a6c-b68a-d60d75cd35ea}" ma:internalName="TaxCatchAll" ma:showField="CatchAllData" ma:web="812061dd-523a-47bf-9db5-a71fd49c94a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Picture xmlns="e37e8048-7f47-46c3-9f5d-bf2bf54c9279">
      <Url xsi:nil="true"/>
      <Description xsi:nil="true"/>
    </Picture>
    <TaxCatchAll xmlns="812061dd-523a-47bf-9db5-a71fd49c94a4" xsi:nil="true"/>
    <lcf76f155ced4ddcb4097134ff3c332f xmlns="e37e8048-7f47-46c3-9f5d-bf2bf54c927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E77D47C5-BC86-4D25-A9C8-E395B9072ABA}"/>
</file>

<file path=customXml/itemProps2.xml><?xml version="1.0" encoding="utf-8"?>
<ds:datastoreItem xmlns:ds="http://schemas.openxmlformats.org/officeDocument/2006/customXml" ds:itemID="{8A6DE63D-ECC7-4EF9-84EA-DEDD2D1BA868}"/>
</file>

<file path=customXml/itemProps3.xml><?xml version="1.0" encoding="utf-8"?>
<ds:datastoreItem xmlns:ds="http://schemas.openxmlformats.org/officeDocument/2006/customXml" ds:itemID="{37EA063A-C11F-4EF3-8112-57C3AAFA3671}"/>
</file>

<file path=docMetadata/LabelInfo.xml><?xml version="1.0" encoding="utf-8"?>
<clbl:labelList xmlns:clbl="http://schemas.microsoft.com/office/2020/mipLabelMetadata">
  <clbl:label id="{37c354b2-85b0-47f5-b222-07b48d774ee3}" enabled="0" method="" siteId="{37c354b2-85b0-47f5-b222-07b48d774ee3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8</TotalTime>
  <Words>308</Words>
  <Application>Microsoft Office PowerPoint</Application>
  <PresentationFormat>Widescreen</PresentationFormat>
  <Paragraphs>35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4" baseType="lpstr">
      <vt:lpstr>Amasis MT Pro Black</vt:lpstr>
      <vt:lpstr>Aptos</vt:lpstr>
      <vt:lpstr>Aptos Black</vt:lpstr>
      <vt:lpstr>Aptos Display</vt:lpstr>
      <vt:lpstr>Arial</vt:lpstr>
      <vt:lpstr>Dreaming Outloud Script Pro</vt:lpstr>
      <vt:lpstr>Times New Roman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reparing for Retirement I have MERCH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MAHON, Shauna (THE NEWCASTLE UPON TYNE HOSPITALS NHS FOUNDATION TRUST)</dc:creator>
  <cp:lastModifiedBy>MCMAHON, Shauna (THE NEWCASTLE UPON TYNE HOSPITALS NHS FOUNDATION TRUST)</cp:lastModifiedBy>
  <cp:revision>2</cp:revision>
  <dcterms:created xsi:type="dcterms:W3CDTF">2024-06-28T16:17:42Z</dcterms:created>
  <dcterms:modified xsi:type="dcterms:W3CDTF">2024-07-15T09:3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532358C74A89A419650AD017E1FAC40</vt:lpwstr>
  </property>
</Properties>
</file>